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8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0" r:id="rId1"/>
    <p:sldMasterId id="2147483652" r:id="rId2"/>
    <p:sldMasterId id="2147483654" r:id="rId3"/>
    <p:sldMasterId id="2147483656" r:id="rId4"/>
    <p:sldMasterId id="2147483658" r:id="rId5"/>
    <p:sldMasterId id="2147483660" r:id="rId6"/>
    <p:sldMasterId id="2147484010" r:id="rId7"/>
    <p:sldMasterId id="2147484020" r:id="rId8"/>
    <p:sldMasterId id="2147484029" r:id="rId9"/>
    <p:sldMasterId id="2147484039" r:id="rId10"/>
  </p:sldMasterIdLst>
  <p:notesMasterIdLst>
    <p:notesMasterId r:id="rId28"/>
  </p:notesMasterIdLst>
  <p:handoutMasterIdLst>
    <p:handoutMasterId r:id="rId29"/>
  </p:handoutMasterIdLst>
  <p:sldIdLst>
    <p:sldId id="585" r:id="rId11"/>
    <p:sldId id="591" r:id="rId12"/>
    <p:sldId id="599" r:id="rId13"/>
    <p:sldId id="595" r:id="rId14"/>
    <p:sldId id="597" r:id="rId15"/>
    <p:sldId id="594" r:id="rId16"/>
    <p:sldId id="613" r:id="rId17"/>
    <p:sldId id="596" r:id="rId18"/>
    <p:sldId id="598" r:id="rId19"/>
    <p:sldId id="602" r:id="rId20"/>
    <p:sldId id="603" r:id="rId21"/>
    <p:sldId id="608" r:id="rId22"/>
    <p:sldId id="604" r:id="rId23"/>
    <p:sldId id="614" r:id="rId24"/>
    <p:sldId id="609" r:id="rId25"/>
    <p:sldId id="605" r:id="rId26"/>
    <p:sldId id="610" r:id="rId27"/>
  </p:sldIdLst>
  <p:sldSz cx="8961438" cy="6721475"/>
  <p:notesSz cx="7086600" cy="9372600"/>
  <p:custDataLst>
    <p:tags r:id="rId30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1pPr>
    <a:lvl2pPr marL="457102" algn="ctr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2pPr>
    <a:lvl3pPr marL="914206" algn="ctr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3pPr>
    <a:lvl4pPr marL="1371309" algn="ctr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4pPr>
    <a:lvl5pPr marL="1828413" algn="ctr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5pPr>
    <a:lvl6pPr marL="2285516" algn="l" defTabSz="914206" rtl="0" eaLnBrk="1" latinLnBrk="0" hangingPunct="1"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6pPr>
    <a:lvl7pPr marL="2742618" algn="l" defTabSz="914206" rtl="0" eaLnBrk="1" latinLnBrk="0" hangingPunct="1"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7pPr>
    <a:lvl8pPr marL="3199722" algn="l" defTabSz="914206" rtl="0" eaLnBrk="1" latinLnBrk="0" hangingPunct="1"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8pPr>
    <a:lvl9pPr marL="3656824" algn="l" defTabSz="914206" rtl="0" eaLnBrk="1" latinLnBrk="0" hangingPunct="1">
      <a:defRPr sz="800" b="1" kern="1200">
        <a:solidFill>
          <a:schemeClr val="bg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080808"/>
    <a:srgbClr val="FFFF00"/>
    <a:srgbClr val="663300"/>
    <a:srgbClr val="91AFFF"/>
    <a:srgbClr val="808080"/>
    <a:srgbClr val="0066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03" autoAdjust="0"/>
    <p:restoredTop sz="88067" autoAdjust="0"/>
  </p:normalViewPr>
  <p:slideViewPr>
    <p:cSldViewPr snapToGrid="0">
      <p:cViewPr>
        <p:scale>
          <a:sx n="70" d="100"/>
          <a:sy n="70" d="100"/>
        </p:scale>
        <p:origin x="-1146" y="-72"/>
      </p:cViewPr>
      <p:guideLst>
        <p:guide orient="horz" pos="695"/>
        <p:guide pos="28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200" y="-72"/>
      </p:cViewPr>
      <p:guideLst>
        <p:guide orient="horz" pos="2952"/>
        <p:guide pos="223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945C3C-D69B-4806-97C4-8CEDA60A5C39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03B142D-E6C6-44C8-BDF6-BC72C60111ED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sz="1400" b="1" dirty="0" smtClean="0"/>
            <a:t>Outcomes we measure</a:t>
          </a:r>
          <a:endParaRPr lang="en-US" sz="1400" b="1" dirty="0"/>
        </a:p>
      </dgm:t>
    </dgm:pt>
    <dgm:pt modelId="{2B1B2F89-A1FE-4C1C-B643-D9C89C1E275A}" type="parTrans" cxnId="{B1EFDF80-C483-4392-AA53-69DF1C90B410}">
      <dgm:prSet/>
      <dgm:spPr/>
      <dgm:t>
        <a:bodyPr/>
        <a:lstStyle/>
        <a:p>
          <a:endParaRPr lang="en-US"/>
        </a:p>
      </dgm:t>
    </dgm:pt>
    <dgm:pt modelId="{0CD9B5FA-B464-4469-B589-3AD481CB62E1}" type="sibTrans" cxnId="{B1EFDF80-C483-4392-AA53-69DF1C90B410}">
      <dgm:prSet/>
      <dgm:spPr/>
      <dgm:t>
        <a:bodyPr/>
        <a:lstStyle/>
        <a:p>
          <a:endParaRPr lang="en-US"/>
        </a:p>
      </dgm:t>
    </dgm:pt>
    <dgm:pt modelId="{DC0252E3-1F06-4ED1-B918-BF8EE0C88CF0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sz="1400" b="1" dirty="0" smtClean="0"/>
            <a:t>How we measure farm-level outcome</a:t>
          </a:r>
          <a:endParaRPr lang="en-US" sz="1400" b="1" dirty="0"/>
        </a:p>
      </dgm:t>
    </dgm:pt>
    <dgm:pt modelId="{E8FE77F9-B2B8-41D8-9E36-CB5FCD13CB45}" type="parTrans" cxnId="{1EB65CB9-C3AE-427F-A0E8-9DF5C1BDF3E2}">
      <dgm:prSet/>
      <dgm:spPr/>
      <dgm:t>
        <a:bodyPr/>
        <a:lstStyle/>
        <a:p>
          <a:endParaRPr lang="en-US"/>
        </a:p>
      </dgm:t>
    </dgm:pt>
    <dgm:pt modelId="{E759FECE-0CA4-4C4F-B712-3507AE75ACF4}" type="sibTrans" cxnId="{1EB65CB9-C3AE-427F-A0E8-9DF5C1BDF3E2}">
      <dgm:prSet/>
      <dgm:spPr/>
      <dgm:t>
        <a:bodyPr/>
        <a:lstStyle/>
        <a:p>
          <a:endParaRPr lang="en-US"/>
        </a:p>
      </dgm:t>
    </dgm:pt>
    <dgm:pt modelId="{CCBBB30E-0EDE-4C97-A201-6418F3E4A0BA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sz="1400" b="1" dirty="0" smtClean="0"/>
            <a:t>Purpose and use of measured outcome</a:t>
          </a:r>
          <a:endParaRPr lang="en-US" sz="1400" b="1" dirty="0"/>
        </a:p>
      </dgm:t>
    </dgm:pt>
    <dgm:pt modelId="{AE029210-EB56-46FB-AF44-1AB2BD5357F7}" type="parTrans" cxnId="{B5A69284-AED5-442D-8C24-731C4B7D341E}">
      <dgm:prSet/>
      <dgm:spPr/>
      <dgm:t>
        <a:bodyPr/>
        <a:lstStyle/>
        <a:p>
          <a:endParaRPr lang="en-US"/>
        </a:p>
      </dgm:t>
    </dgm:pt>
    <dgm:pt modelId="{AAB8A5A2-1CC6-4F0D-855F-D80750D1D352}" type="sibTrans" cxnId="{B5A69284-AED5-442D-8C24-731C4B7D341E}">
      <dgm:prSet/>
      <dgm:spPr/>
      <dgm:t>
        <a:bodyPr/>
        <a:lstStyle/>
        <a:p>
          <a:endParaRPr lang="en-US"/>
        </a:p>
      </dgm:t>
    </dgm:pt>
    <dgm:pt modelId="{10B33010-AE73-4E93-882F-1BD5B637AFFA}">
      <dgm:prSet phldrT="[Text]" custT="1"/>
      <dgm:spPr>
        <a:solidFill>
          <a:schemeClr val="accent3">
            <a:lumMod val="50000"/>
          </a:schemeClr>
        </a:solidFill>
      </dgm:spPr>
      <dgm:t>
        <a:bodyPr/>
        <a:lstStyle/>
        <a:p>
          <a:r>
            <a:rPr lang="en-US" sz="1400" b="1" dirty="0" smtClean="0"/>
            <a:t>Who has responsibility to measure what</a:t>
          </a:r>
          <a:endParaRPr lang="en-US" sz="1400" b="1" dirty="0"/>
        </a:p>
      </dgm:t>
    </dgm:pt>
    <dgm:pt modelId="{BF74E458-8383-4D1B-9359-6A7C71050D0B}" type="parTrans" cxnId="{139AE49B-DABF-4FDA-93A6-5815F63B3D77}">
      <dgm:prSet/>
      <dgm:spPr/>
      <dgm:t>
        <a:bodyPr/>
        <a:lstStyle/>
        <a:p>
          <a:endParaRPr lang="en-US"/>
        </a:p>
      </dgm:t>
    </dgm:pt>
    <dgm:pt modelId="{2581AA87-5867-449D-BE8E-E3D4335B0695}" type="sibTrans" cxnId="{139AE49B-DABF-4FDA-93A6-5815F63B3D77}">
      <dgm:prSet/>
      <dgm:spPr/>
      <dgm:t>
        <a:bodyPr/>
        <a:lstStyle/>
        <a:p>
          <a:endParaRPr lang="en-US"/>
        </a:p>
      </dgm:t>
    </dgm:pt>
    <dgm:pt modelId="{EA0A902E-B613-4AA2-9E91-B9342A77D5EC}" type="pres">
      <dgm:prSet presAssocID="{A2945C3C-D69B-4806-97C4-8CEDA60A5C39}" presName="Name0" presStyleCnt="0">
        <dgm:presLayoutVars>
          <dgm:dir/>
          <dgm:animLvl val="lvl"/>
          <dgm:resizeHandles val="exact"/>
        </dgm:presLayoutVars>
      </dgm:prSet>
      <dgm:spPr/>
    </dgm:pt>
    <dgm:pt modelId="{AB3A3D12-CB2A-455D-9281-B7FB363DA61E}" type="pres">
      <dgm:prSet presAssocID="{B03B142D-E6C6-44C8-BDF6-BC72C60111ED}" presName="parTxOnly" presStyleLbl="node1" presStyleIdx="0" presStyleCnt="4" custScaleX="7515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8E01C4-167B-4217-BD8E-7FEDBE518578}" type="pres">
      <dgm:prSet presAssocID="{0CD9B5FA-B464-4469-B589-3AD481CB62E1}" presName="parTxOnlySpace" presStyleCnt="0"/>
      <dgm:spPr/>
    </dgm:pt>
    <dgm:pt modelId="{26E0B40D-C9CD-4E0D-9302-FDD31B903893}" type="pres">
      <dgm:prSet presAssocID="{DC0252E3-1F06-4ED1-B918-BF8EE0C88CF0}" presName="parTxOnly" presStyleLbl="node1" presStyleIdx="1" presStyleCnt="4" custScaleX="8443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074C54-1812-48A5-BB65-FC4E872DA891}" type="pres">
      <dgm:prSet presAssocID="{E759FECE-0CA4-4C4F-B712-3507AE75ACF4}" presName="parTxOnlySpace" presStyleCnt="0"/>
      <dgm:spPr/>
    </dgm:pt>
    <dgm:pt modelId="{37D5211A-5783-46DD-8589-7913F756786D}" type="pres">
      <dgm:prSet presAssocID="{CCBBB30E-0EDE-4C97-A201-6418F3E4A0BA}" presName="parTxOnly" presStyleLbl="node1" presStyleIdx="2" presStyleCnt="4" custScaleX="7334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D5B5C6-8D88-4E33-8B2A-E8BD89B20DCF}" type="pres">
      <dgm:prSet presAssocID="{AAB8A5A2-1CC6-4F0D-855F-D80750D1D352}" presName="parTxOnlySpace" presStyleCnt="0"/>
      <dgm:spPr/>
    </dgm:pt>
    <dgm:pt modelId="{D645E417-FFF8-4412-B388-3F57BA3CBD46}" type="pres">
      <dgm:prSet presAssocID="{10B33010-AE73-4E93-882F-1BD5B637AFFA}" presName="parTxOnly" presStyleLbl="node1" presStyleIdx="3" presStyleCnt="4" custScaleX="7070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DFF99C9-875E-4450-B4AE-D888FF5A45A5}" type="presOf" srcId="{B03B142D-E6C6-44C8-BDF6-BC72C60111ED}" destId="{AB3A3D12-CB2A-455D-9281-B7FB363DA61E}" srcOrd="0" destOrd="0" presId="urn:microsoft.com/office/officeart/2005/8/layout/chevron1"/>
    <dgm:cxn modelId="{B5A69284-AED5-442D-8C24-731C4B7D341E}" srcId="{A2945C3C-D69B-4806-97C4-8CEDA60A5C39}" destId="{CCBBB30E-0EDE-4C97-A201-6418F3E4A0BA}" srcOrd="2" destOrd="0" parTransId="{AE029210-EB56-46FB-AF44-1AB2BD5357F7}" sibTransId="{AAB8A5A2-1CC6-4F0D-855F-D80750D1D352}"/>
    <dgm:cxn modelId="{CBD82872-CA5D-41CD-9BC7-FB4CE895EB0A}" type="presOf" srcId="{10B33010-AE73-4E93-882F-1BD5B637AFFA}" destId="{D645E417-FFF8-4412-B388-3F57BA3CBD46}" srcOrd="0" destOrd="0" presId="urn:microsoft.com/office/officeart/2005/8/layout/chevron1"/>
    <dgm:cxn modelId="{1EB65CB9-C3AE-427F-A0E8-9DF5C1BDF3E2}" srcId="{A2945C3C-D69B-4806-97C4-8CEDA60A5C39}" destId="{DC0252E3-1F06-4ED1-B918-BF8EE0C88CF0}" srcOrd="1" destOrd="0" parTransId="{E8FE77F9-B2B8-41D8-9E36-CB5FCD13CB45}" sibTransId="{E759FECE-0CA4-4C4F-B712-3507AE75ACF4}"/>
    <dgm:cxn modelId="{E956E0DF-6690-4398-80B1-5A4ECF82023A}" type="presOf" srcId="{A2945C3C-D69B-4806-97C4-8CEDA60A5C39}" destId="{EA0A902E-B613-4AA2-9E91-B9342A77D5EC}" srcOrd="0" destOrd="0" presId="urn:microsoft.com/office/officeart/2005/8/layout/chevron1"/>
    <dgm:cxn modelId="{32BE0FD7-5A7A-40D8-A143-7EDF690F252B}" type="presOf" srcId="{CCBBB30E-0EDE-4C97-A201-6418F3E4A0BA}" destId="{37D5211A-5783-46DD-8589-7913F756786D}" srcOrd="0" destOrd="0" presId="urn:microsoft.com/office/officeart/2005/8/layout/chevron1"/>
    <dgm:cxn modelId="{139AE49B-DABF-4FDA-93A6-5815F63B3D77}" srcId="{A2945C3C-D69B-4806-97C4-8CEDA60A5C39}" destId="{10B33010-AE73-4E93-882F-1BD5B637AFFA}" srcOrd="3" destOrd="0" parTransId="{BF74E458-8383-4D1B-9359-6A7C71050D0B}" sibTransId="{2581AA87-5867-449D-BE8E-E3D4335B0695}"/>
    <dgm:cxn modelId="{B1EFDF80-C483-4392-AA53-69DF1C90B410}" srcId="{A2945C3C-D69B-4806-97C4-8CEDA60A5C39}" destId="{B03B142D-E6C6-44C8-BDF6-BC72C60111ED}" srcOrd="0" destOrd="0" parTransId="{2B1B2F89-A1FE-4C1C-B643-D9C89C1E275A}" sibTransId="{0CD9B5FA-B464-4469-B589-3AD481CB62E1}"/>
    <dgm:cxn modelId="{068E39C0-4226-4358-A490-84C74C895B50}" type="presOf" srcId="{DC0252E3-1F06-4ED1-B918-BF8EE0C88CF0}" destId="{26E0B40D-C9CD-4E0D-9302-FDD31B903893}" srcOrd="0" destOrd="0" presId="urn:microsoft.com/office/officeart/2005/8/layout/chevron1"/>
    <dgm:cxn modelId="{E2CEC241-E663-4705-9094-FC9E2ADC24EE}" type="presParOf" srcId="{EA0A902E-B613-4AA2-9E91-B9342A77D5EC}" destId="{AB3A3D12-CB2A-455D-9281-B7FB363DA61E}" srcOrd="0" destOrd="0" presId="urn:microsoft.com/office/officeart/2005/8/layout/chevron1"/>
    <dgm:cxn modelId="{B07F48D1-210A-4F88-9196-F353BEB0E46C}" type="presParOf" srcId="{EA0A902E-B613-4AA2-9E91-B9342A77D5EC}" destId="{6E8E01C4-167B-4217-BD8E-7FEDBE518578}" srcOrd="1" destOrd="0" presId="urn:microsoft.com/office/officeart/2005/8/layout/chevron1"/>
    <dgm:cxn modelId="{514EB7D8-4380-446A-9A32-428187A56F29}" type="presParOf" srcId="{EA0A902E-B613-4AA2-9E91-B9342A77D5EC}" destId="{26E0B40D-C9CD-4E0D-9302-FDD31B903893}" srcOrd="2" destOrd="0" presId="urn:microsoft.com/office/officeart/2005/8/layout/chevron1"/>
    <dgm:cxn modelId="{FD3E1B42-4821-4A70-AE91-E37CD29F2AEC}" type="presParOf" srcId="{EA0A902E-B613-4AA2-9E91-B9342A77D5EC}" destId="{3B074C54-1812-48A5-BB65-FC4E872DA891}" srcOrd="3" destOrd="0" presId="urn:microsoft.com/office/officeart/2005/8/layout/chevron1"/>
    <dgm:cxn modelId="{6DDD0FD1-19C7-49B2-A3AD-B46AA1126C26}" type="presParOf" srcId="{EA0A902E-B613-4AA2-9E91-B9342A77D5EC}" destId="{37D5211A-5783-46DD-8589-7913F756786D}" srcOrd="4" destOrd="0" presId="urn:microsoft.com/office/officeart/2005/8/layout/chevron1"/>
    <dgm:cxn modelId="{CB8AFC08-42A5-4AFD-BE32-F35E273523C1}" type="presParOf" srcId="{EA0A902E-B613-4AA2-9E91-B9342A77D5EC}" destId="{3AD5B5C6-8D88-4E33-8B2A-E8BD89B20DCF}" srcOrd="5" destOrd="0" presId="urn:microsoft.com/office/officeart/2005/8/layout/chevron1"/>
    <dgm:cxn modelId="{215E02B2-B908-4789-9B8C-ECEBCAA2EEE9}" type="presParOf" srcId="{EA0A902E-B613-4AA2-9E91-B9342A77D5EC}" destId="{D645E417-FFF8-4412-B388-3F57BA3CBD46}" srcOrd="6" destOrd="0" presId="urn:microsoft.com/office/officeart/2005/8/layout/chevron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3A3D12-CB2A-455D-9281-B7FB363DA61E}">
      <dsp:nvSpPr>
        <dsp:cNvPr id="0" name=""/>
        <dsp:cNvSpPr/>
      </dsp:nvSpPr>
      <dsp:spPr>
        <a:xfrm>
          <a:off x="2627" y="0"/>
          <a:ext cx="2410793" cy="621894"/>
        </a:xfrm>
        <a:prstGeom prst="chevron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Outcomes we measure</a:t>
          </a:r>
          <a:endParaRPr lang="en-US" sz="1400" b="1" kern="1200" dirty="0"/>
        </a:p>
      </dsp:txBody>
      <dsp:txXfrm>
        <a:off x="313574" y="0"/>
        <a:ext cx="1788899" cy="621894"/>
      </dsp:txXfrm>
    </dsp:sp>
    <dsp:sp modelId="{26E0B40D-C9CD-4E0D-9302-FDD31B903893}">
      <dsp:nvSpPr>
        <dsp:cNvPr id="0" name=""/>
        <dsp:cNvSpPr/>
      </dsp:nvSpPr>
      <dsp:spPr>
        <a:xfrm>
          <a:off x="2092631" y="0"/>
          <a:ext cx="2708421" cy="621894"/>
        </a:xfrm>
        <a:prstGeom prst="chevron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How we measure farm-level outcome</a:t>
          </a:r>
          <a:endParaRPr lang="en-US" sz="1400" b="1" kern="1200" dirty="0"/>
        </a:p>
      </dsp:txBody>
      <dsp:txXfrm>
        <a:off x="2403578" y="0"/>
        <a:ext cx="2086527" cy="621894"/>
      </dsp:txXfrm>
    </dsp:sp>
    <dsp:sp modelId="{37D5211A-5783-46DD-8589-7913F756786D}">
      <dsp:nvSpPr>
        <dsp:cNvPr id="0" name=""/>
        <dsp:cNvSpPr/>
      </dsp:nvSpPr>
      <dsp:spPr>
        <a:xfrm>
          <a:off x="4480264" y="0"/>
          <a:ext cx="2352730" cy="621894"/>
        </a:xfrm>
        <a:prstGeom prst="chevron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Purpose and use of measured outcome</a:t>
          </a:r>
          <a:endParaRPr lang="en-US" sz="1400" b="1" kern="1200" dirty="0"/>
        </a:p>
      </dsp:txBody>
      <dsp:txXfrm>
        <a:off x="4791211" y="0"/>
        <a:ext cx="1730836" cy="621894"/>
      </dsp:txXfrm>
    </dsp:sp>
    <dsp:sp modelId="{D645E417-FFF8-4412-B388-3F57BA3CBD46}">
      <dsp:nvSpPr>
        <dsp:cNvPr id="0" name=""/>
        <dsp:cNvSpPr/>
      </dsp:nvSpPr>
      <dsp:spPr>
        <a:xfrm>
          <a:off x="6512205" y="0"/>
          <a:ext cx="2268266" cy="621894"/>
        </a:xfrm>
        <a:prstGeom prst="chevron">
          <a:avLst/>
        </a:prstGeom>
        <a:solidFill>
          <a:schemeClr val="accent3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/>
            <a:t>Who has responsibility to measure what</a:t>
          </a:r>
          <a:endParaRPr lang="en-US" sz="1400" b="1" kern="1200" dirty="0"/>
        </a:p>
      </dsp:txBody>
      <dsp:txXfrm>
        <a:off x="6823152" y="0"/>
        <a:ext cx="1646372" cy="6218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357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ChangeAspect="1" noChangeArrowheads="1" noTextEdit="1"/>
          </p:cNvSpPr>
          <p:nvPr>
            <p:ph type="sldImg" idx="2"/>
          </p:nvPr>
        </p:nvSpPr>
        <p:spPr bwMode="gray">
          <a:xfrm>
            <a:off x="795338" y="587375"/>
            <a:ext cx="5500687" cy="41259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73088" y="5037138"/>
            <a:ext cx="6040437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324600" y="8986838"/>
            <a:ext cx="561975" cy="20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2865">
              <a:defRPr sz="1300"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fld id="{5A15D8F6-9175-4C6D-982A-AB73C529A1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886575" y="98425"/>
            <a:ext cx="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2865">
              <a:defRPr b="0">
                <a:solidFill>
                  <a:schemeClr val="tx1"/>
                </a:solidFill>
                <a:cs typeface="+mn-cs"/>
              </a:defRPr>
            </a:lvl1pPr>
          </a:lstStyle>
          <a:p>
            <a:pPr>
              <a:defRPr/>
            </a:pP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92762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50" indent="-115863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▪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299974" indent="-180936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6948" indent="-125387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itchFamily="34" charset="0"/>
      <a:buChar char="▫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809" indent="-114276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437FB398-A030-4EF9-B8BE-693635505E9E}" type="slidenum">
              <a:rPr lang="en-US" sz="1300" b="0" smtClean="0">
                <a:solidFill>
                  <a:schemeClr val="tx1"/>
                </a:solidFill>
              </a:rPr>
              <a:pPr eaLnBrk="1" hangingPunct="1"/>
              <a:t>0</a:t>
            </a:fld>
            <a:endParaRPr lang="en-US" sz="1300" b="0" smtClean="0">
              <a:solidFill>
                <a:schemeClr val="tx1"/>
              </a:solidFill>
            </a:endParaRPr>
          </a:p>
        </p:txBody>
      </p:sp>
      <p:sp>
        <p:nvSpPr>
          <p:cNvPr id="16387" name="Rectangle 2"/>
          <p:cNvSpPr>
            <a:spLocks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2125" y="5037138"/>
            <a:ext cx="6110288" cy="153987"/>
          </a:xfrm>
          <a:noFill/>
        </p:spPr>
        <p:txBody>
          <a:bodyPr/>
          <a:lstStyle/>
          <a:p>
            <a:pPr eaLnBrk="1" hangingPunct="1"/>
            <a:endParaRPr lang="en-CA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LE –</a:t>
            </a:r>
            <a:r>
              <a:rPr lang="en-US" baseline="0" dirty="0" smtClean="0"/>
              <a:t> Monitoring, Learning and Evalu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15D8F6-9175-4C6D-982A-AB73C529A11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5125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24600" y="9002713"/>
            <a:ext cx="561975" cy="184150"/>
          </a:xfrm>
          <a:noFill/>
        </p:spPr>
        <p:txBody>
          <a:bodyPr/>
          <a:lstStyle>
            <a:lvl1pPr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3186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3186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B73DEEF5-5314-4911-BF8C-1AA9463C19C5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2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1741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00150" y="703263"/>
            <a:ext cx="4684713" cy="3514725"/>
          </a:xfrm>
          <a:ln>
            <a:solidFill>
              <a:srgbClr val="000000"/>
            </a:solidFill>
          </a:ln>
        </p:spPr>
      </p:sp>
      <p:sp>
        <p:nvSpPr>
          <p:cNvPr id="17412" name="Notes Placeholder 2"/>
          <p:cNvSpPr>
            <a:spLocks noGrp="1"/>
          </p:cNvSpPr>
          <p:nvPr>
            <p:ph type="body" idx="1"/>
          </p:nvPr>
        </p:nvSpPr>
        <p:spPr>
          <a:xfrm>
            <a:off x="573088" y="5035550"/>
            <a:ext cx="6038850" cy="250825"/>
          </a:xfrm>
          <a:noFill/>
        </p:spPr>
        <p:txBody>
          <a:bodyPr lIns="95533" tIns="47765" rIns="95533" bIns="47765"/>
          <a:lstStyle/>
          <a:p>
            <a:pPr defTabSz="930275" eaLnBrk="1" hangingPunct="1"/>
            <a:endParaRPr lang="en-US" smtClean="0"/>
          </a:p>
        </p:txBody>
      </p:sp>
      <p:sp>
        <p:nvSpPr>
          <p:cNvPr id="17413" name="Slide Number Placeholder 6"/>
          <p:cNvSpPr txBox="1">
            <a:spLocks noGrp="1"/>
          </p:cNvSpPr>
          <p:nvPr/>
        </p:nvSpPr>
        <p:spPr bwMode="auto">
          <a:xfrm>
            <a:off x="5691188" y="8662988"/>
            <a:ext cx="706437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3" tIns="47765" rIns="95533" bIns="47765" anchor="b"/>
          <a:lstStyle>
            <a:lvl1pPr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23F7A33F-94A4-4FE7-96CF-B9C523324965}" type="slidenum">
              <a:rPr lang="en-US" sz="900">
                <a:solidFill>
                  <a:srgbClr val="000000"/>
                </a:solidFill>
              </a:rPr>
              <a:pPr algn="r" eaLnBrk="1" hangingPunct="1"/>
              <a:t>2</a:t>
            </a:fld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17414" name="Footer Placeholder 7"/>
          <p:cNvSpPr txBox="1">
            <a:spLocks noGrp="1"/>
          </p:cNvSpPr>
          <p:nvPr/>
        </p:nvSpPr>
        <p:spPr bwMode="auto">
          <a:xfrm>
            <a:off x="679450" y="8662988"/>
            <a:ext cx="30702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317" tIns="46658" rIns="93317" bIns="46658" anchor="b"/>
          <a:lstStyle>
            <a:lvl1pPr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2813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912813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900">
                <a:solidFill>
                  <a:srgbClr val="000000"/>
                </a:solidFill>
              </a:rPr>
              <a:t>© 2010 Bill &amp; Melinda Gates Foundation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lobal Redesign – polio to G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15D8F6-9175-4C6D-982A-AB73C529A117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630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3088" y="5037138"/>
            <a:ext cx="6040437" cy="461665"/>
          </a:xfrm>
        </p:spPr>
        <p:txBody>
          <a:bodyPr/>
          <a:lstStyle/>
          <a:p>
            <a:r>
              <a:rPr lang="en-US" dirty="0" smtClean="0"/>
              <a:t>C4 Rice, DTMA, digitized soil map of Africa,</a:t>
            </a:r>
            <a:r>
              <a:rPr lang="en-US" baseline="0" dirty="0" smtClean="0"/>
              <a:t> </a:t>
            </a:r>
          </a:p>
          <a:p>
            <a:r>
              <a:rPr lang="en-US" baseline="0" dirty="0" smtClean="0"/>
              <a:t>CGIAR, China and Brazil, Rome UN, NARS</a:t>
            </a:r>
          </a:p>
          <a:p>
            <a:r>
              <a:rPr lang="en-US" baseline="0" dirty="0" smtClean="0"/>
              <a:t>EADD, ATA</a:t>
            </a:r>
            <a:endParaRPr lang="en-US" dirty="0" smtClean="0"/>
          </a:p>
          <a:p>
            <a:r>
              <a:rPr lang="en-US" dirty="0" smtClean="0"/>
              <a:t>High ris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ABDAB-0EB8-42B2-A372-8F1087A41986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1009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silie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15D8F6-9175-4C6D-982A-AB73C529A117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732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15D8F6-9175-4C6D-982A-AB73C529A117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01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4.pn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tags" Target="../tags/tag3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8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4.vml"/><Relationship Id="rId6" Type="http://schemas.openxmlformats.org/officeDocument/2006/relationships/tags" Target="../tags/tag72.xml"/><Relationship Id="rId11" Type="http://schemas.openxmlformats.org/officeDocument/2006/relationships/image" Target="../media/image7.png"/><Relationship Id="rId5" Type="http://schemas.openxmlformats.org/officeDocument/2006/relationships/tags" Target="../tags/tag7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8.jpeg"/><Relationship Id="rId2" Type="http://schemas.openxmlformats.org/officeDocument/2006/relationships/tags" Target="../tags/tag11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21.xml"/><Relationship Id="rId11" Type="http://schemas.openxmlformats.org/officeDocument/2006/relationships/image" Target="../media/image7.png"/><Relationship Id="rId5" Type="http://schemas.openxmlformats.org/officeDocument/2006/relationships/tags" Target="../tags/tag12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19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image" Target="../media/image8.jpeg"/><Relationship Id="rId2" Type="http://schemas.openxmlformats.org/officeDocument/2006/relationships/tags" Target="../tags/tag1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170.xml"/><Relationship Id="rId11" Type="http://schemas.openxmlformats.org/officeDocument/2006/relationships/image" Target="../media/image7.png"/><Relationship Id="rId5" Type="http://schemas.openxmlformats.org/officeDocument/2006/relationships/tags" Target="../tags/tag1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68.xml"/><Relationship Id="rId9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8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9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0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jpeg"/><Relationship Id="rId2" Type="http://schemas.openxmlformats.org/officeDocument/2006/relationships/tags" Target="../tags/tag21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19.xml"/><Relationship Id="rId11" Type="http://schemas.openxmlformats.org/officeDocument/2006/relationships/image" Target="../media/image7.png"/><Relationship Id="rId5" Type="http://schemas.openxmlformats.org/officeDocument/2006/relationships/tags" Target="../tags/tag21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0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12" Type="http://schemas.openxmlformats.org/officeDocument/2006/relationships/image" Target="../media/image8.jpeg"/><Relationship Id="rId2" Type="http://schemas.openxmlformats.org/officeDocument/2006/relationships/tags" Target="../tags/tag26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68.xml"/><Relationship Id="rId11" Type="http://schemas.openxmlformats.org/officeDocument/2006/relationships/image" Target="../media/image7.png"/><Relationship Id="rId5" Type="http://schemas.openxmlformats.org/officeDocument/2006/relationships/tags" Target="../tags/tag26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66.xml"/><Relationship Id="rId9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0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Rectangle 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-17463" y="-19048"/>
            <a:ext cx="8993188" cy="4405313"/>
            <a:chOff x="-12" y="-12"/>
            <a:chExt cx="5780" cy="2831"/>
          </a:xfrm>
        </p:grpSpPr>
        <p:pic>
          <p:nvPicPr>
            <p:cNvPr id="6" name="Rectangle 2"/>
            <p:cNvPicPr>
              <a:picLocks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-12" y="-12"/>
              <a:ext cx="5780" cy="2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 Box 5"/>
            <p:cNvSpPr txBox="1">
              <a:spLocks noChangeArrowheads="1"/>
            </p:cNvSpPr>
            <p:nvPr/>
          </p:nvSpPr>
          <p:spPr bwMode="gray">
            <a:xfrm>
              <a:off x="1" y="0"/>
              <a:ext cx="5760" cy="2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607" tIns="44804" rIns="89607" bIns="44804" anchor="ctr"/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CA" sz="1600" b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8" name="Picture 7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67438" y="3935413"/>
            <a:ext cx="2168525" cy="216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30252" y="21907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900" smtClean="0"/>
              <a:t>WORKING DRAFT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30250" y="374650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900" b="0" smtClean="0"/>
              <a:t>Last Modified 27/04/2012 3:15:00 PM Easter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30251" y="531815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sz="900" b="0" smtClean="0"/>
              <a:t>Printed 18/04/2012 2:28:10 PM Eastern Standard Time</a:t>
            </a:r>
            <a:endParaRPr lang="en-US" sz="900" b="0" smtClean="0"/>
          </a:p>
        </p:txBody>
      </p:sp>
      <p:grpSp>
        <p:nvGrpSpPr>
          <p:cNvPr id="12" name="McK Title Elements"/>
          <p:cNvGrpSpPr>
            <a:grpSpLocks/>
          </p:cNvGrpSpPr>
          <p:nvPr/>
        </p:nvGrpSpPr>
        <p:grpSpPr bwMode="auto">
          <a:xfrm>
            <a:off x="730252" y="5819776"/>
            <a:ext cx="4332288" cy="484188"/>
            <a:chOff x="460" y="3666"/>
            <a:chExt cx="2729" cy="305"/>
          </a:xfrm>
        </p:grpSpPr>
        <p:sp>
          <p:nvSpPr>
            <p:cNvPr id="13" name="McK Document type" hidden="1"/>
            <p:cNvSpPr txBox="1">
              <a:spLocks noChangeArrowheads="1"/>
            </p:cNvSpPr>
            <p:nvPr userDrawn="1">
              <p:custDataLst>
                <p:tags r:id="rId8"/>
              </p:custDataLst>
            </p:nvPr>
          </p:nvSpPr>
          <p:spPr bwMode="gray">
            <a:xfrm>
              <a:off x="460" y="3666"/>
              <a:ext cx="272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="0" smtClean="0">
                  <a:solidFill>
                    <a:schemeClr val="tx1"/>
                  </a:solidFill>
                </a:rPr>
                <a:t>Document type</a:t>
              </a:r>
            </a:p>
          </p:txBody>
        </p:sp>
        <p:sp>
          <p:nvSpPr>
            <p:cNvPr id="14" name="McK Date" hidden="1"/>
            <p:cNvSpPr txBox="1"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gray">
            <a:xfrm>
              <a:off x="460" y="3835"/>
              <a:ext cx="272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400" b="0" smtClean="0">
                  <a:solidFill>
                    <a:schemeClr val="tx1"/>
                  </a:solidFill>
                </a:rPr>
                <a:t>Date</a:t>
              </a:r>
            </a:p>
          </p:txBody>
        </p:sp>
      </p:grpSp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60"/>
            <a:endParaRPr lang="en-CA" b="0"/>
          </a:p>
        </p:txBody>
      </p:sp>
      <p:sp>
        <p:nvSpPr>
          <p:cNvPr id="8295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730250" y="1255715"/>
            <a:ext cx="7605713" cy="497721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82952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730250" y="3078620"/>
            <a:ext cx="7605713" cy="215444"/>
          </a:xfrm>
        </p:spPr>
        <p:txBody>
          <a:bodyPr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28010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4FAA21-AB0B-4D78-9322-F4290C6670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117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79162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6002" y="230188"/>
            <a:ext cx="584775" cy="26971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2238" y="230188"/>
            <a:ext cx="6311900" cy="26971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CD94A6-6328-4F58-8CAB-4B12EA5862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783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8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352"/>
          <a:stretch>
            <a:fillRect/>
          </a:stretch>
        </p:blipFill>
        <p:spPr bwMode="auto">
          <a:xfrm>
            <a:off x="2" y="0"/>
            <a:ext cx="8969375" cy="44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0315" y="4033838"/>
            <a:ext cx="2212975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498475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altLang="zh-CN" sz="900" b="0" smtClean="0">
                <a:ea typeface="SimSun" pitchFamily="2" charset="-122"/>
              </a:rPr>
              <a:t>Last Modified 27/04/2012 1:22:42 PM Eastern Standard Time</a:t>
            </a:r>
            <a:endParaRPr lang="en-US" altLang="zh-CN" sz="900" b="0" smtClean="0">
              <a:ea typeface="SimSun" pitchFamily="2" charset="-122"/>
            </a:endParaRPr>
          </a:p>
        </p:txBody>
      </p:sp>
      <p:sp>
        <p:nvSpPr>
          <p:cNvPr id="8" name="Printe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764" y="65564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0" smtClean="0">
                <a:ea typeface="SimSun" pitchFamily="2" charset="-122"/>
              </a:rPr>
              <a:t>Printed 4/16/2012 5:38:49 PM Pacific Standard Time</a:t>
            </a:r>
          </a:p>
        </p:txBody>
      </p:sp>
      <p:sp>
        <p:nvSpPr>
          <p:cNvPr id="9" name="Working Draft Tex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676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ea typeface="SimSun" pitchFamily="2" charset="-122"/>
              </a:rPr>
              <a:t>WORKING DRAFT</a:t>
            </a:r>
          </a:p>
        </p:txBody>
      </p:sp>
      <p:sp>
        <p:nvSpPr>
          <p:cNvPr id="10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766763" y="5281614"/>
            <a:ext cx="5264150" cy="612775"/>
            <a:chOff x="483" y="3327"/>
            <a:chExt cx="3316" cy="386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483" y="332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483" y="357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6379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66765" y="2123244"/>
            <a:ext cx="7748587" cy="497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</a:t>
            </a:r>
          </a:p>
        </p:txBody>
      </p:sp>
      <p:sp>
        <p:nvSpPr>
          <p:cNvPr id="6379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766765" y="3227390"/>
            <a:ext cx="7748587" cy="2444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711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0FD85-C456-4B3E-AF9F-2362E7BACE7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340186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401181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37836-0917-4E15-857C-E943717874D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72808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38"/>
            <a:ext cx="2074862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38"/>
            <a:ext cx="2074863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96F7BD-CBF0-4348-B616-B515EF47FE1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483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85EF9-6EB9-40F0-ABCF-2FE423561E77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1912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A629D-2478-4AB8-BFD5-55B4E4572F5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1489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3938E4-3B49-4807-8D10-A36A053D963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8451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4FA990-0369-4BC0-993E-ED4108BAC6D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0435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CC1CA0-7AAD-4D3B-BB80-AC427B21D3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04246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A42E23-4B59-43CB-825D-F0D2DDF3633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63725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00035" y="1951038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405BE5-B2C2-4839-B76B-EE125A79EE9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41071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28" y="246063"/>
            <a:ext cx="584775" cy="2927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9857" y="246063"/>
            <a:ext cx="1231106" cy="2927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0DF220-3F3D-45C4-9161-F92690B26A6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68811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2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352"/>
          <a:stretch>
            <a:fillRect/>
          </a:stretch>
        </p:blipFill>
        <p:spPr bwMode="auto">
          <a:xfrm>
            <a:off x="2" y="0"/>
            <a:ext cx="8969375" cy="44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0315" y="4033838"/>
            <a:ext cx="2212975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498475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altLang="zh-CN" sz="900" b="0" smtClean="0">
                <a:ea typeface="SimSun" pitchFamily="2" charset="-122"/>
              </a:rPr>
              <a:t>Last Modified 27/04/2012 1:22:42 PM Eastern Standard Time</a:t>
            </a:r>
            <a:endParaRPr lang="en-US" altLang="zh-CN" sz="900" b="0" smtClean="0">
              <a:ea typeface="SimSun" pitchFamily="2" charset="-122"/>
            </a:endParaRPr>
          </a:p>
        </p:txBody>
      </p:sp>
      <p:sp>
        <p:nvSpPr>
          <p:cNvPr id="8" name="Printe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764" y="65564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0" smtClean="0">
                <a:ea typeface="SimSun" pitchFamily="2" charset="-122"/>
              </a:rPr>
              <a:t>Printed 4/16/2012 5:38:49 PM Pacific Standard Time</a:t>
            </a:r>
          </a:p>
        </p:txBody>
      </p:sp>
      <p:sp>
        <p:nvSpPr>
          <p:cNvPr id="9" name="Working Draft Tex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676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ea typeface="SimSun" pitchFamily="2" charset="-122"/>
              </a:rPr>
              <a:t>WORKING DRAFT</a:t>
            </a:r>
          </a:p>
        </p:txBody>
      </p:sp>
      <p:sp>
        <p:nvSpPr>
          <p:cNvPr id="10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766763" y="5281614"/>
            <a:ext cx="5264150" cy="612775"/>
            <a:chOff x="483" y="3327"/>
            <a:chExt cx="3316" cy="386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483" y="332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483" y="357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64410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66765" y="2123244"/>
            <a:ext cx="7748587" cy="497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</a:t>
            </a:r>
          </a:p>
        </p:txBody>
      </p:sp>
      <p:sp>
        <p:nvSpPr>
          <p:cNvPr id="64410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766765" y="3227390"/>
            <a:ext cx="7748587" cy="2444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49687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7C8EDC-CEB7-48FB-A0A3-647FF5458C5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69030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401181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38657-C161-485B-9B3F-B0D8BB87FEC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05916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38"/>
            <a:ext cx="2074862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38"/>
            <a:ext cx="2074863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CA7D9E-D225-4BB5-B7A2-B66B72B1B5F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92095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1DFD8-5317-49D7-A3F2-CD7284B2CA3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6573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8BC3CF-A1AF-4E9B-AAE4-69B121A60C0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150158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1857EB-F745-4D96-9659-63FAE55F806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11658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6BF863-A630-43F8-A4BD-B24357CFD7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9107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35EF3-665B-4B5E-9B3E-DBBD65E0116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80670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49B6A9-38C3-40FF-9EB9-C678FF04E9F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8112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00035" y="1951038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52754C-9D4E-491B-B929-4CCC8C1A90D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05089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28" y="246063"/>
            <a:ext cx="584775" cy="2927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9857" y="246063"/>
            <a:ext cx="1231106" cy="2927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86AA9E-C294-44BF-BCA1-E86508C855D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60536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6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352"/>
          <a:stretch>
            <a:fillRect/>
          </a:stretch>
        </p:blipFill>
        <p:spPr bwMode="auto">
          <a:xfrm>
            <a:off x="2" y="0"/>
            <a:ext cx="8969375" cy="44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0315" y="4033838"/>
            <a:ext cx="2212975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498475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altLang="zh-CN" sz="900" b="0" smtClean="0">
                <a:ea typeface="SimSun" pitchFamily="2" charset="-122"/>
              </a:rPr>
              <a:t>Last Modified 27/04/2012 1:22:42 PM Eastern Standard Time</a:t>
            </a:r>
            <a:endParaRPr lang="en-US" altLang="zh-CN" sz="900" b="0" smtClean="0">
              <a:ea typeface="SimSun" pitchFamily="2" charset="-122"/>
            </a:endParaRPr>
          </a:p>
        </p:txBody>
      </p:sp>
      <p:sp>
        <p:nvSpPr>
          <p:cNvPr id="8" name="Printe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764" y="65564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0" smtClean="0">
                <a:ea typeface="SimSun" pitchFamily="2" charset="-122"/>
              </a:rPr>
              <a:t>Printed 4/16/2012 5:38:49 PM Pacific Standard Time</a:t>
            </a:r>
          </a:p>
        </p:txBody>
      </p:sp>
      <p:sp>
        <p:nvSpPr>
          <p:cNvPr id="9" name="Working Draft Tex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676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ea typeface="SimSun" pitchFamily="2" charset="-122"/>
              </a:rPr>
              <a:t>WORKING DRAFT</a:t>
            </a:r>
          </a:p>
        </p:txBody>
      </p:sp>
      <p:sp>
        <p:nvSpPr>
          <p:cNvPr id="10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766763" y="5281614"/>
            <a:ext cx="5264150" cy="612775"/>
            <a:chOff x="483" y="3327"/>
            <a:chExt cx="3316" cy="386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483" y="332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483" y="357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6502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66765" y="2123244"/>
            <a:ext cx="7748587" cy="497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</a:t>
            </a:r>
          </a:p>
        </p:txBody>
      </p:sp>
      <p:sp>
        <p:nvSpPr>
          <p:cNvPr id="6502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766765" y="3227390"/>
            <a:ext cx="7748587" cy="2444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6844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245906-3805-4FCD-9FE8-1FA92B8F4F1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15640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401181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83AC15-7B30-4BEA-90AA-C9EC8E44FCC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292309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38"/>
            <a:ext cx="2074862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38"/>
            <a:ext cx="2074863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1B538-A0BC-4CA0-9554-8303A81C45F7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54351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A9945D-6537-453B-8C5A-0941F0A4728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1624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2758A-CC01-4F03-960E-546BA235F39D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59818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704975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704975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5FDD12-F30B-40B0-80A7-20708DD067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4599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B4D8E-6F0B-4DC0-85FF-610361D2766F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287676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F9288F-0964-4AC9-B142-F5988CB9473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120759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8AFABD-AA0A-4C0A-BA15-CE61A24C5121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86396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00035" y="1951038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421743-CAC1-42A0-B1D6-644BE0A4E0A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335491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28" y="246063"/>
            <a:ext cx="584775" cy="2927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9857" y="246063"/>
            <a:ext cx="1231106" cy="2927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5C6F8C-F67A-401B-A9F1-D102573A62A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41374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0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352"/>
          <a:stretch>
            <a:fillRect/>
          </a:stretch>
        </p:blipFill>
        <p:spPr bwMode="auto">
          <a:xfrm>
            <a:off x="2" y="0"/>
            <a:ext cx="8969375" cy="44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0315" y="4033838"/>
            <a:ext cx="2212975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498475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altLang="zh-CN" sz="900" b="0" smtClean="0">
                <a:ea typeface="SimSun" pitchFamily="2" charset="-122"/>
              </a:rPr>
              <a:t>Last Modified 27/04/2012 1:22:42 PM Eastern Standard Time</a:t>
            </a:r>
            <a:endParaRPr lang="en-US" altLang="zh-CN" sz="900" b="0" smtClean="0">
              <a:ea typeface="SimSun" pitchFamily="2" charset="-122"/>
            </a:endParaRPr>
          </a:p>
        </p:txBody>
      </p:sp>
      <p:sp>
        <p:nvSpPr>
          <p:cNvPr id="8" name="Printe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764" y="65564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0" smtClean="0">
                <a:ea typeface="SimSun" pitchFamily="2" charset="-122"/>
              </a:rPr>
              <a:t>Printed 4/16/2012 5:38:49 PM Pacific Standard Time</a:t>
            </a:r>
          </a:p>
        </p:txBody>
      </p:sp>
      <p:sp>
        <p:nvSpPr>
          <p:cNvPr id="9" name="Working Draft Tex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676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ea typeface="SimSun" pitchFamily="2" charset="-122"/>
              </a:rPr>
              <a:t>WORKING DRAFT</a:t>
            </a:r>
          </a:p>
        </p:txBody>
      </p:sp>
      <p:sp>
        <p:nvSpPr>
          <p:cNvPr id="10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766763" y="5281614"/>
            <a:ext cx="5264150" cy="612775"/>
            <a:chOff x="483" y="3327"/>
            <a:chExt cx="3316" cy="386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483" y="332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483" y="357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6707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66765" y="2123244"/>
            <a:ext cx="7748587" cy="497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</a:t>
            </a:r>
          </a:p>
        </p:txBody>
      </p:sp>
      <p:sp>
        <p:nvSpPr>
          <p:cNvPr id="6707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766765" y="3227390"/>
            <a:ext cx="7748587" cy="2444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0502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F8C7E-677B-440C-B04C-ABBBA1BFE7A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14706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401181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9EA13C-AD4A-4E5A-82D7-A8BC276D6DB1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955624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38"/>
            <a:ext cx="2074862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38"/>
            <a:ext cx="2074863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689EA1-A6D2-48B4-B5E1-22C014CA5F7B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51824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5289E5-17E9-4E03-9BC8-A8E783110D1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2383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504952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2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F1E2C-DEC7-4AE8-AA8F-093A0A7244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8398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CDB1B5-A4C9-4FC4-AF18-92F59EFA1A11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57607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6746F-F1E1-4847-B414-1DA11A30D8E5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99366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BA1D73-1927-434E-95EB-769BD46A0DE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77899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43850-51E0-4452-80E8-716FF94206C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68607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00035" y="1951038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151D7-D581-4409-8A5A-8A9D250DF86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83122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28" y="246063"/>
            <a:ext cx="584775" cy="2927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9857" y="246063"/>
            <a:ext cx="1231106" cy="2927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0B5F54-697C-421F-B43F-E229C4F4A3B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400559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4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" t="352"/>
          <a:stretch>
            <a:fillRect/>
          </a:stretch>
        </p:blipFill>
        <p:spPr bwMode="auto">
          <a:xfrm>
            <a:off x="2" y="0"/>
            <a:ext cx="8969375" cy="44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6" descr="BMGF_BoxLogo_red_WEBSAFE2.42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10315" y="4033838"/>
            <a:ext cx="2212975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Working Draft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498475"/>
            <a:ext cx="313547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CA" altLang="zh-CN" sz="900" b="0" smtClean="0">
                <a:ea typeface="SimSun" pitchFamily="2" charset="-122"/>
              </a:rPr>
              <a:t>Last Modified 27/04/2012 1:22:42 PM Eastern Standard Time</a:t>
            </a:r>
            <a:endParaRPr lang="en-US" altLang="zh-CN" sz="900" b="0" smtClean="0">
              <a:ea typeface="SimSun" pitchFamily="2" charset="-122"/>
            </a:endParaRPr>
          </a:p>
        </p:txBody>
      </p:sp>
      <p:sp>
        <p:nvSpPr>
          <p:cNvPr id="8" name="Printe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66764" y="655640"/>
            <a:ext cx="26930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b="0" smtClean="0">
                <a:ea typeface="SimSun" pitchFamily="2" charset="-122"/>
              </a:rPr>
              <a:t>Printed 4/16/2012 5:38:49 PM Pacific Standard Time</a:t>
            </a:r>
          </a:p>
        </p:txBody>
      </p:sp>
      <p:sp>
        <p:nvSpPr>
          <p:cNvPr id="9" name="Working Draft Tex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6676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altLang="zh-CN" sz="900" smtClean="0">
                <a:ea typeface="SimSun" pitchFamily="2" charset="-122"/>
              </a:rPr>
              <a:t>WORKING DRAFT</a:t>
            </a:r>
          </a:p>
        </p:txBody>
      </p:sp>
      <p:sp>
        <p:nvSpPr>
          <p:cNvPr id="10" name="doc id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grpSp>
        <p:nvGrpSpPr>
          <p:cNvPr id="11" name="McK Title Elements"/>
          <p:cNvGrpSpPr>
            <a:grpSpLocks/>
          </p:cNvGrpSpPr>
          <p:nvPr/>
        </p:nvGrpSpPr>
        <p:grpSpPr bwMode="auto">
          <a:xfrm>
            <a:off x="766763" y="5281614"/>
            <a:ext cx="5264150" cy="612775"/>
            <a:chOff x="483" y="3327"/>
            <a:chExt cx="3316" cy="386"/>
          </a:xfrm>
        </p:grpSpPr>
        <p:sp>
          <p:nvSpPr>
            <p:cNvPr id="1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483" y="332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ocument type</a:t>
              </a:r>
            </a:p>
          </p:txBody>
        </p:sp>
        <p:sp>
          <p:nvSpPr>
            <p:cNvPr id="13" name="McK Date" hidden="1"/>
            <p:cNvSpPr txBox="1">
              <a:spLocks noChangeArrowheads="1"/>
            </p:cNvSpPr>
            <p:nvPr userDrawn="1"/>
          </p:nvSpPr>
          <p:spPr bwMode="auto">
            <a:xfrm>
              <a:off x="483" y="3577"/>
              <a:ext cx="3316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altLang="zh-CN" sz="1400" b="0" smtClean="0">
                  <a:solidFill>
                    <a:srgbClr val="000000"/>
                  </a:solidFill>
                  <a:ea typeface="SimSun" pitchFamily="2" charset="-122"/>
                </a:rPr>
                <a:t>Date</a:t>
              </a:r>
            </a:p>
          </p:txBody>
        </p:sp>
      </p:grpSp>
      <p:sp>
        <p:nvSpPr>
          <p:cNvPr id="7065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66765" y="2123244"/>
            <a:ext cx="7748587" cy="497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</a:t>
            </a:r>
          </a:p>
        </p:txBody>
      </p:sp>
      <p:sp>
        <p:nvSpPr>
          <p:cNvPr id="70656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766765" y="3227390"/>
            <a:ext cx="7748587" cy="2444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4513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BAF60A-4A9A-4F1F-8F5B-D1383668192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54111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7" y="4319590"/>
            <a:ext cx="7616825" cy="12367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7" y="4011813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2" indent="0">
              <a:buNone/>
              <a:defRPr sz="1800"/>
            </a:lvl2pPr>
            <a:lvl3pPr marL="914206" indent="0">
              <a:buNone/>
              <a:defRPr sz="1600"/>
            </a:lvl3pPr>
            <a:lvl4pPr marL="1371309" indent="0">
              <a:buNone/>
              <a:defRPr sz="1400"/>
            </a:lvl4pPr>
            <a:lvl5pPr marL="1828413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4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98366C-5A75-455C-A1D2-DA88B199DC0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11320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5" y="1951038"/>
            <a:ext cx="2074862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7" y="1951038"/>
            <a:ext cx="2074863" cy="251877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F3CC64-7CEF-46EE-A47C-EF5BE28E1A34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8180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9F4699-074F-4774-B664-FBB59E2424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6326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6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7" y="1393350"/>
            <a:ext cx="395922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7" y="2132013"/>
            <a:ext cx="395922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393350"/>
            <a:ext cx="3960813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2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09" indent="0">
              <a:buNone/>
              <a:defRPr sz="1600" b="1"/>
            </a:lvl4pPr>
            <a:lvl5pPr marL="1828413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4561F5-D891-4C1F-BB6F-4979BD57806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65777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C88FFE-330A-41BC-9A87-6E543DE2BF2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21426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F02112-9325-4077-8BA4-36B023BABB4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537472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D10EC3-BC5D-4C08-AA41-6C8670BF860C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41941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7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E3206C-128A-4EEA-B6AC-A6A1B3C745FF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64412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00035" y="1951038"/>
            <a:ext cx="2954655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E8707-7DE0-498F-A550-C03FFB26D06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86481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52828" y="246063"/>
            <a:ext cx="584775" cy="2927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9857" y="246063"/>
            <a:ext cx="1231106" cy="2927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B86B7-D53E-4BBE-8CC2-3973A76E2AC2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678588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2"/>
            <a:ext cx="8961438" cy="4376110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pic>
        <p:nvPicPr>
          <p:cNvPr id="6" name="Picture 7" descr="BMGF_BoxLogo_red_WEBSAFE2.42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165657" y="3934867"/>
            <a:ext cx="2168792" cy="2168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111" y="526706"/>
            <a:ext cx="7824144" cy="418100"/>
          </a:xfrm>
        </p:spPr>
        <p:txBody>
          <a:bodyPr/>
          <a:lstStyle>
            <a:lvl1pPr>
              <a:lnSpc>
                <a:spcPct val="77000"/>
              </a:lnSpc>
              <a:defRPr sz="35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11" y="5119108"/>
            <a:ext cx="5415756" cy="451469"/>
          </a:xfrm>
        </p:spPr>
        <p:txBody>
          <a:bodyPr>
            <a:noAutofit/>
          </a:bodyPr>
          <a:lstStyle>
            <a:lvl1pPr marL="0" indent="0" algn="l">
              <a:lnSpc>
                <a:spcPts val="2156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47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86112" y="1536773"/>
            <a:ext cx="7824145" cy="1216374"/>
          </a:xfrm>
        </p:spPr>
        <p:txBody>
          <a:bodyPr/>
          <a:lstStyle>
            <a:lvl1pPr marL="0" indent="0">
              <a:lnSpc>
                <a:spcPts val="2548"/>
              </a:lnSpc>
              <a:spcAft>
                <a:spcPts val="392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54678419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3D2CB35-7ED4-4C1A-91E4-157D14FAC197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EBF5D24-62DF-472F-810D-083366BD089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7676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1CA8B07-3A35-45B9-A432-F3A1DCC6A251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A159A4D-D762-4F27-9F79-1EF6AD0D7C6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76024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7923C7-C28F-42E1-986E-21F0FE1C84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689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F480629-AEFB-49DF-AAE5-9281BF5F742C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79EB4EB-8AE3-490A-85DF-DC4FF001C68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4570427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6365021"/>
            <a:ext cx="8961438" cy="358479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345" y="294052"/>
            <a:ext cx="8288711" cy="332399"/>
          </a:xfrm>
        </p:spPr>
        <p:txBody>
          <a:bodyPr/>
          <a:lstStyle>
            <a:lvl1pPr>
              <a:defRPr sz="2400"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094" y="909574"/>
            <a:ext cx="8342211" cy="5081268"/>
          </a:xfrm>
        </p:spPr>
        <p:txBody>
          <a:bodyPr/>
          <a:lstStyle>
            <a:lvl1pPr>
              <a:lnSpc>
                <a:spcPts val="2548"/>
              </a:lnSpc>
              <a:buClr>
                <a:schemeClr val="accent2"/>
              </a:buClr>
              <a:defRPr sz="2000" spc="0" baseline="0"/>
            </a:lvl1pPr>
            <a:lvl2pPr>
              <a:lnSpc>
                <a:spcPts val="2352"/>
              </a:lnSpc>
              <a:buClr>
                <a:schemeClr val="accent2"/>
              </a:buClr>
              <a:defRPr sz="1800" spc="0" baseline="0"/>
            </a:lvl2pPr>
            <a:lvl3pPr marL="668831" indent="-220870">
              <a:lnSpc>
                <a:spcPts val="2450"/>
              </a:lnSpc>
              <a:buClr>
                <a:schemeClr val="accent2"/>
              </a:buClr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96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666"/>
              </a:lnSpc>
              <a:defRPr lang="en-US" sz="140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81157"/>
            <a:ext cx="2091002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27100" y="6284269"/>
            <a:ext cx="376505" cy="357856"/>
          </a:xfrm>
        </p:spPr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1BC6AFC-BCC1-43C8-94AA-25B2B621E1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7398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825" y="1533947"/>
            <a:ext cx="3763491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821" y="2281589"/>
            <a:ext cx="3763492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tabLst>
                <a:tab pos="227091" algn="l"/>
              </a:tabLst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3" y="1533947"/>
            <a:ext cx="3941473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686821" y="3775788"/>
            <a:ext cx="3763492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686821" y="4575689"/>
            <a:ext cx="3775938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67846" y="3775788"/>
            <a:ext cx="3942410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567845" y="2281589"/>
            <a:ext cx="3942409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567847" y="4575689"/>
            <a:ext cx="3942410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F9A330A-A083-471B-A94E-8EB50D849A34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089103-65F9-4271-98B6-B484099AE27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05657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365021"/>
            <a:ext cx="8961438" cy="358479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778" y="240846"/>
            <a:ext cx="8241827" cy="332399"/>
          </a:xfrm>
        </p:spPr>
        <p:txBody>
          <a:bodyPr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315302"/>
            <a:ext cx="2091002" cy="357856"/>
          </a:xfrm>
        </p:spPr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CDCAAEB-5D91-4CF0-A5DF-59F175479BEC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20540" y="6316855"/>
            <a:ext cx="2260585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7100" y="6318414"/>
            <a:ext cx="376505" cy="357856"/>
          </a:xfrm>
        </p:spPr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EC01C3B-1C9C-44D9-9A0E-31AABEB06D5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0814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DEBF94A-813A-4723-928A-68B657FC2ECA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F027DB9-D1C8-4247-803C-0D2E29AD220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8841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2"/>
            <a:ext cx="8961438" cy="4376110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111" y="526706"/>
            <a:ext cx="7824144" cy="418100"/>
          </a:xfrm>
        </p:spPr>
        <p:txBody>
          <a:bodyPr tIns="0">
            <a:spAutoFit/>
          </a:bodyPr>
          <a:lstStyle>
            <a:lvl1pPr>
              <a:lnSpc>
                <a:spcPct val="77000"/>
              </a:lnSpc>
              <a:defRPr sz="35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11" y="5119108"/>
            <a:ext cx="5415756" cy="451469"/>
          </a:xfrm>
        </p:spPr>
        <p:txBody>
          <a:bodyPr wrap="square" anchor="t" anchorCtr="0">
            <a:noAutofit/>
          </a:bodyPr>
          <a:lstStyle>
            <a:lvl1pPr marL="0" indent="0" algn="l">
              <a:lnSpc>
                <a:spcPts val="2156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47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86112" y="1536773"/>
            <a:ext cx="7824145" cy="1216374"/>
          </a:xfrm>
        </p:spPr>
        <p:txBody>
          <a:bodyPr/>
          <a:lstStyle>
            <a:lvl1pPr marL="0" indent="0">
              <a:lnSpc>
                <a:spcPts val="2548"/>
              </a:lnSpc>
              <a:spcAft>
                <a:spcPts val="392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7" name="Picture 6" descr="BMGF_BoxLogo_red_WEBSAFE2.4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5469" y="3934303"/>
            <a:ext cx="2168668" cy="216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160861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 anchor="t" anchorCtr="0"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506C4767-D3AA-444B-BF6C-2CD48C9C4E94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9099" y="6281834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7150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564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6111" y="1537867"/>
            <a:ext cx="7824144" cy="4452977"/>
          </a:xfrm>
        </p:spPr>
        <p:txBody>
          <a:bodyPr/>
          <a:lstStyle>
            <a:lvl1pPr>
              <a:lnSpc>
                <a:spcPts val="2548"/>
              </a:lnSpc>
              <a:buClr>
                <a:schemeClr val="accent2"/>
              </a:buClr>
              <a:defRPr spc="0" baseline="0"/>
            </a:lvl1pPr>
            <a:lvl2pPr>
              <a:lnSpc>
                <a:spcPts val="2352"/>
              </a:lnSpc>
              <a:buClr>
                <a:schemeClr val="accent2"/>
              </a:buClr>
              <a:defRPr spc="0" baseline="0"/>
            </a:lvl2pPr>
            <a:lvl3pPr marL="668831" indent="-220870">
              <a:lnSpc>
                <a:spcPts val="2450"/>
              </a:lnSpc>
              <a:buClr>
                <a:schemeClr val="accent2"/>
              </a:buClr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96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666"/>
              </a:lnSpc>
              <a:defRPr lang="en-US" sz="140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82F1DF56-E329-41D3-A843-AD37D080C1B9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5" y="6281720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58342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110" y="1538683"/>
            <a:ext cx="3707484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113" y="2261834"/>
            <a:ext cx="3707483" cy="3832389"/>
          </a:xfrm>
        </p:spPr>
        <p:txBody>
          <a:bodyPr/>
          <a:lstStyle>
            <a:lvl1pPr marL="223980" indent="-223980">
              <a:lnSpc>
                <a:spcPts val="2352"/>
              </a:lnSpc>
              <a:defRPr sz="2000" spc="0" baseline="0"/>
            </a:lvl1pPr>
            <a:lvl2pPr marL="452628" indent="-228648">
              <a:lnSpc>
                <a:spcPts val="2352"/>
              </a:lnSpc>
              <a:defRPr sz="1800" spc="0" baseline="0"/>
            </a:lvl2pPr>
            <a:lvl3pPr marL="620613" indent="-222426">
              <a:lnSpc>
                <a:spcPts val="2352"/>
              </a:lnSpc>
              <a:defRPr sz="1600" spc="0" baseline="0"/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0" y="1538683"/>
            <a:ext cx="3941474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67847" y="2261834"/>
            <a:ext cx="3942410" cy="3832389"/>
          </a:xfrm>
        </p:spPr>
        <p:txBody>
          <a:bodyPr/>
          <a:lstStyle>
            <a:lvl1pPr marL="227091" indent="-227091">
              <a:lnSpc>
                <a:spcPts val="2352"/>
              </a:lnSpc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352"/>
              </a:lnSpc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352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32008">
              <a:defRPr sz="1700"/>
            </a:lvl4pPr>
            <a:lvl5pPr marL="1253361" indent="-216456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F74D3CAD-8AA6-40D5-B12E-E7C53C64E893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20665" y="6282339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238919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825" y="1533947"/>
            <a:ext cx="3763491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821" y="2281589"/>
            <a:ext cx="3763492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tabLst>
                <a:tab pos="227091" algn="l"/>
              </a:tabLst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3" y="1533947"/>
            <a:ext cx="3941473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686821" y="3775788"/>
            <a:ext cx="3763492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686821" y="4575689"/>
            <a:ext cx="3775938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67846" y="3775788"/>
            <a:ext cx="3942410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567845" y="2281589"/>
            <a:ext cx="3942409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567847" y="4575689"/>
            <a:ext cx="3942410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9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A42E6FC1-EB8A-4A4E-9274-085DA52B8723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6120665" y="6282339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8197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328BD-7AC6-4A44-A2E3-FAF4C9757E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7592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D6F5966E-B0F1-444A-BC5E-4DC8B2437767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5" y="6282339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61305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588" tIns="44795" rIns="89588" bIns="44795" numCol="1" rtlCol="0" anchor="ctr" anchorCtr="0" compatLnSpc="1">
            <a:prstTxWarp prst="textNoShape">
              <a:avLst/>
            </a:prstTxWarp>
          </a:bodyPr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E258D855-AF7B-49A9-A37F-F0984EE94521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5" y="6282339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34491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7980347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5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328BD-7AC6-4A44-A2E3-FAF4C9757E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4901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2"/>
            <a:ext cx="8961438" cy="4376110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pic>
        <p:nvPicPr>
          <p:cNvPr id="6" name="Picture 7" descr="BMGF_BoxLogo_red_WEBSAFE2.42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165657" y="3934867"/>
            <a:ext cx="2168792" cy="2168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111" y="526706"/>
            <a:ext cx="7824144" cy="418100"/>
          </a:xfrm>
        </p:spPr>
        <p:txBody>
          <a:bodyPr/>
          <a:lstStyle>
            <a:lvl1pPr>
              <a:lnSpc>
                <a:spcPct val="77000"/>
              </a:lnSpc>
              <a:defRPr sz="35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11" y="5119108"/>
            <a:ext cx="5415756" cy="451469"/>
          </a:xfrm>
        </p:spPr>
        <p:txBody>
          <a:bodyPr>
            <a:noAutofit/>
          </a:bodyPr>
          <a:lstStyle>
            <a:lvl1pPr marL="0" indent="0" algn="l">
              <a:lnSpc>
                <a:spcPts val="2156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47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86112" y="1536773"/>
            <a:ext cx="7824145" cy="1216374"/>
          </a:xfrm>
        </p:spPr>
        <p:txBody>
          <a:bodyPr/>
          <a:lstStyle>
            <a:lvl1pPr marL="0" indent="0">
              <a:lnSpc>
                <a:spcPts val="2548"/>
              </a:lnSpc>
              <a:spcAft>
                <a:spcPts val="392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38014576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3D2CB35-7ED4-4C1A-91E4-157D14FAC197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EBF5D24-62DF-472F-810D-083366BD089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31741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1CA8B07-3A35-45B9-A432-F3A1DCC6A251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A159A4D-D762-4F27-9F79-1EF6AD0D7C6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224280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5"/>
            <a:ext cx="7824144" cy="407227"/>
          </a:xfrm>
        </p:spPr>
        <p:txBody>
          <a:bodyPr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F480629-AEFB-49DF-AAE5-9281BF5F742C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8983" y="6281157"/>
            <a:ext cx="2260584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79EB4EB-8AE3-490A-85DF-DC4FF001C68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679163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6365021"/>
            <a:ext cx="8961438" cy="358479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345" y="294052"/>
            <a:ext cx="8288711" cy="332399"/>
          </a:xfrm>
        </p:spPr>
        <p:txBody>
          <a:bodyPr/>
          <a:lstStyle>
            <a:lvl1pPr>
              <a:defRPr sz="2400"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094" y="909574"/>
            <a:ext cx="8342211" cy="5081268"/>
          </a:xfrm>
        </p:spPr>
        <p:txBody>
          <a:bodyPr/>
          <a:lstStyle>
            <a:lvl1pPr>
              <a:lnSpc>
                <a:spcPts val="2548"/>
              </a:lnSpc>
              <a:buClr>
                <a:schemeClr val="accent2"/>
              </a:buClr>
              <a:defRPr sz="2000" spc="0" baseline="0"/>
            </a:lvl1pPr>
            <a:lvl2pPr>
              <a:lnSpc>
                <a:spcPts val="2352"/>
              </a:lnSpc>
              <a:buClr>
                <a:schemeClr val="accent2"/>
              </a:buClr>
              <a:defRPr sz="1800" spc="0" baseline="0"/>
            </a:lvl2pPr>
            <a:lvl3pPr marL="668831" indent="-220870">
              <a:lnSpc>
                <a:spcPts val="2450"/>
              </a:lnSpc>
              <a:buClr>
                <a:schemeClr val="accent2"/>
              </a:buClr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96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666"/>
              </a:lnSpc>
              <a:defRPr lang="en-US" sz="140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81157"/>
            <a:ext cx="2091002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227100" y="6284269"/>
            <a:ext cx="376505" cy="357856"/>
          </a:xfrm>
        </p:spPr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1BC6AFC-BCC1-43C8-94AA-25B2B621E1B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436658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825" y="1533947"/>
            <a:ext cx="3763491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821" y="2281589"/>
            <a:ext cx="3763492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tabLst>
                <a:tab pos="227091" algn="l"/>
              </a:tabLst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3" y="1533947"/>
            <a:ext cx="3941473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686821" y="3775788"/>
            <a:ext cx="3763492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686821" y="4575689"/>
            <a:ext cx="3775938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67846" y="3775788"/>
            <a:ext cx="3942410" cy="65156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7942" indent="0">
              <a:buNone/>
              <a:defRPr sz="2000" b="1"/>
            </a:lvl2pPr>
            <a:lvl3pPr marL="895886" indent="0">
              <a:buNone/>
              <a:defRPr sz="1800" b="1"/>
            </a:lvl3pPr>
            <a:lvl4pPr marL="1343830" indent="0">
              <a:buNone/>
              <a:defRPr sz="1600" b="1"/>
            </a:lvl4pPr>
            <a:lvl5pPr marL="1791772" indent="0">
              <a:buNone/>
              <a:defRPr sz="1600" b="1"/>
            </a:lvl5pPr>
            <a:lvl6pPr marL="2239717" indent="0">
              <a:buNone/>
              <a:defRPr sz="1600" b="1"/>
            </a:lvl6pPr>
            <a:lvl7pPr marL="2687658" indent="0">
              <a:buNone/>
              <a:defRPr sz="1600" b="1"/>
            </a:lvl7pPr>
            <a:lvl8pPr marL="3135601" indent="0">
              <a:buNone/>
              <a:defRPr sz="1600" b="1"/>
            </a:lvl8pPr>
            <a:lvl9pPr marL="358354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567845" y="2281589"/>
            <a:ext cx="3942409" cy="1406693"/>
          </a:xfrm>
        </p:spPr>
        <p:txBody>
          <a:bodyPr/>
          <a:lstStyle>
            <a:lvl1pPr marL="227091" indent="-227091">
              <a:lnSpc>
                <a:spcPts val="2156"/>
              </a:lnSpc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567847" y="4575689"/>
            <a:ext cx="3942410" cy="1561335"/>
          </a:xfrm>
        </p:spPr>
        <p:txBody>
          <a:bodyPr/>
          <a:lstStyle>
            <a:lvl1pPr marL="227091" indent="-227091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628" indent="-225536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831" indent="-216204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129" indent="-224231">
              <a:defRPr sz="1700"/>
            </a:lvl4pPr>
            <a:lvl5pPr marL="1253361" indent="-20219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F9A330A-A083-471B-A94E-8EB50D849A34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089103-65F9-4271-98B6-B484099AE27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33868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20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102" indent="0">
              <a:buNone/>
              <a:defRPr sz="2800"/>
            </a:lvl2pPr>
            <a:lvl3pPr marL="914206" indent="0">
              <a:buNone/>
              <a:defRPr sz="2400"/>
            </a:lvl3pPr>
            <a:lvl4pPr marL="1371309" indent="0">
              <a:buNone/>
              <a:defRPr sz="2000"/>
            </a:lvl4pPr>
            <a:lvl5pPr marL="1828413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4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102" indent="0">
              <a:buNone/>
              <a:defRPr sz="1200"/>
            </a:lvl2pPr>
            <a:lvl3pPr marL="914206" indent="0">
              <a:buNone/>
              <a:defRPr sz="1000"/>
            </a:lvl3pPr>
            <a:lvl4pPr marL="1371309" indent="0">
              <a:buNone/>
              <a:defRPr sz="900"/>
            </a:lvl4pPr>
            <a:lvl5pPr marL="1828413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4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E33C97-018E-4B65-ABEE-35519364FD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7747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365021"/>
            <a:ext cx="8961438" cy="358479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778" y="240846"/>
            <a:ext cx="8241827" cy="332399"/>
          </a:xfrm>
        </p:spPr>
        <p:txBody>
          <a:bodyPr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315302"/>
            <a:ext cx="2091002" cy="357856"/>
          </a:xfrm>
        </p:spPr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CDCAAEB-5D91-4CF0-A5DF-59F175479BEC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20540" y="6316855"/>
            <a:ext cx="2260585" cy="357856"/>
          </a:xfrm>
        </p:spPr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7100" y="6318414"/>
            <a:ext cx="376505" cy="357856"/>
          </a:xfrm>
        </p:spPr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EC01C3B-1C9C-44D9-9A0E-31AABEB06D5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291779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168704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89588" tIns="44795" rIns="89588" bIns="44795" anchor="ctr"/>
          <a:lstStyle/>
          <a:p>
            <a:pPr defTabSz="895627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DEBF94A-813A-4723-928A-68B657FC2ECA}" type="datetime4">
              <a:rPr lang="en-US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 dirty="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F027DB9-D1C8-4247-803C-0D2E29AD220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783631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2"/>
            <a:ext cx="7617222" cy="1080296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6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59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8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8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8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7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7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6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9C5401-8299-4459-BBCF-4947C3D6C5DF}" type="datetimeFigureOut">
              <a:rPr lang="en-US">
                <a:solidFill>
                  <a:srgbClr val="FFFFFF"/>
                </a:solidFill>
              </a:rPr>
              <a:pPr/>
              <a:t>6/11/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401CAF-50EA-474E-A09E-407E13DF3ED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1370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0" y="0"/>
            <a:ext cx="8961438" cy="4376110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6111" y="526706"/>
            <a:ext cx="7824144" cy="418100"/>
          </a:xfrm>
        </p:spPr>
        <p:txBody>
          <a:bodyPr tIns="0">
            <a:spAutoFit/>
          </a:bodyPr>
          <a:lstStyle>
            <a:lvl1pPr>
              <a:lnSpc>
                <a:spcPct val="77000"/>
              </a:lnSpc>
              <a:defRPr sz="35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11" y="5119106"/>
            <a:ext cx="5415756" cy="451469"/>
          </a:xfrm>
        </p:spPr>
        <p:txBody>
          <a:bodyPr wrap="square" anchor="t" anchorCtr="0">
            <a:noAutofit/>
          </a:bodyPr>
          <a:lstStyle>
            <a:lvl1pPr marL="0" indent="0" algn="l">
              <a:lnSpc>
                <a:spcPts val="2156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48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2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86111" y="1536773"/>
            <a:ext cx="7824145" cy="1216374"/>
          </a:xfrm>
        </p:spPr>
        <p:txBody>
          <a:bodyPr/>
          <a:lstStyle>
            <a:lvl1pPr marL="0" indent="0">
              <a:lnSpc>
                <a:spcPts val="2548"/>
              </a:lnSpc>
              <a:spcAft>
                <a:spcPts val="392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744"/>
              </a:lnSpc>
              <a:spcAft>
                <a:spcPts val="588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7" name="Picture 6" descr="BMGF_BoxLogo_red_WEBSAFE2.4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65469" y="3934303"/>
            <a:ext cx="2168668" cy="2168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69954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544613"/>
            <a:ext cx="7824144" cy="407227"/>
          </a:xfrm>
        </p:spPr>
        <p:txBody>
          <a:bodyPr anchor="t" anchorCtr="0"/>
          <a:lstStyle>
            <a:lvl1pPr>
              <a:lnSpc>
                <a:spcPct val="75000"/>
              </a:lnSpc>
              <a:defRPr sz="35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506C4767-D3AA-444B-BF6C-2CD48C9C4E94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9097" y="6281832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216920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564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6111" y="1537865"/>
            <a:ext cx="7824144" cy="4452977"/>
          </a:xfrm>
        </p:spPr>
        <p:txBody>
          <a:bodyPr/>
          <a:lstStyle>
            <a:lvl1pPr>
              <a:lnSpc>
                <a:spcPts val="2548"/>
              </a:lnSpc>
              <a:buClr>
                <a:schemeClr val="accent2"/>
              </a:buClr>
              <a:defRPr spc="0" baseline="0"/>
            </a:lvl1pPr>
            <a:lvl2pPr>
              <a:lnSpc>
                <a:spcPts val="2352"/>
              </a:lnSpc>
              <a:buClr>
                <a:schemeClr val="accent2"/>
              </a:buClr>
              <a:defRPr spc="0" baseline="0"/>
            </a:lvl2pPr>
            <a:lvl3pPr marL="668973" indent="-220917">
              <a:lnSpc>
                <a:spcPts val="2450"/>
              </a:lnSpc>
              <a:buClr>
                <a:schemeClr val="accent2"/>
              </a:buClr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960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666"/>
              </a:lnSpc>
              <a:defRPr lang="en-US" sz="140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82F1DF56-E329-41D3-A843-AD37D080C1B9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3" y="6281718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745945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110" y="1538681"/>
            <a:ext cx="3707484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111" y="2261834"/>
            <a:ext cx="3707483" cy="3832389"/>
          </a:xfrm>
        </p:spPr>
        <p:txBody>
          <a:bodyPr/>
          <a:lstStyle>
            <a:lvl1pPr marL="224028" indent="-224028">
              <a:lnSpc>
                <a:spcPts val="2352"/>
              </a:lnSpc>
              <a:defRPr sz="2000" spc="0" baseline="0"/>
            </a:lvl1pPr>
            <a:lvl2pPr marL="452724" indent="-228696">
              <a:lnSpc>
                <a:spcPts val="2352"/>
              </a:lnSpc>
              <a:defRPr sz="1800" spc="0" baseline="0"/>
            </a:lvl2pPr>
            <a:lvl3pPr marL="620745" indent="-222473">
              <a:lnSpc>
                <a:spcPts val="2352"/>
              </a:lnSpc>
              <a:defRPr sz="1600" spc="0" baseline="0"/>
            </a:lvl3pPr>
            <a:lvl4pPr marL="1029347" indent="-224279">
              <a:defRPr sz="1700"/>
            </a:lvl4pPr>
            <a:lvl5pPr marL="1253626" indent="-202240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0" y="1538681"/>
            <a:ext cx="3941474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67845" y="2261834"/>
            <a:ext cx="3942410" cy="3832389"/>
          </a:xfrm>
        </p:spPr>
        <p:txBody>
          <a:bodyPr/>
          <a:lstStyle>
            <a:lvl1pPr marL="227140" indent="-227140">
              <a:lnSpc>
                <a:spcPts val="2352"/>
              </a:lnSpc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24" indent="-225584">
              <a:lnSpc>
                <a:spcPts val="2352"/>
              </a:lnSpc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973" indent="-216250">
              <a:lnSpc>
                <a:spcPts val="2352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347" indent="-232057">
              <a:defRPr sz="1700"/>
            </a:lvl4pPr>
            <a:lvl5pPr marL="1253626" indent="-216501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F74D3CAD-8AA6-40D5-B12E-E7C53C64E893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20663" y="6282339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819324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823" y="1533945"/>
            <a:ext cx="3763491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6821" y="2281587"/>
            <a:ext cx="3763492" cy="1406693"/>
          </a:xfrm>
        </p:spPr>
        <p:txBody>
          <a:bodyPr/>
          <a:lstStyle>
            <a:lvl1pPr marL="227140" indent="-227140">
              <a:lnSpc>
                <a:spcPts val="2156"/>
              </a:lnSpc>
              <a:spcBef>
                <a:spcPts val="0"/>
              </a:spcBef>
              <a:tabLst>
                <a:tab pos="227140" algn="l"/>
              </a:tabLst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24" indent="-225584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973" indent="-216250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347" indent="-224279">
              <a:defRPr sz="1700"/>
            </a:lvl4pPr>
            <a:lvl5pPr marL="1253626" indent="-202240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781" y="1533945"/>
            <a:ext cx="3941473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686821" y="3775786"/>
            <a:ext cx="3763492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686821" y="4575689"/>
            <a:ext cx="3775938" cy="1561335"/>
          </a:xfrm>
        </p:spPr>
        <p:txBody>
          <a:bodyPr/>
          <a:lstStyle>
            <a:lvl1pPr marL="227140" indent="-227140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24" indent="-225584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973" indent="-216250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347" indent="-224279">
              <a:defRPr sz="1700"/>
            </a:lvl4pPr>
            <a:lvl5pPr marL="1253626" indent="-202240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567844" y="3775786"/>
            <a:ext cx="3942410" cy="651563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48038" indent="0">
              <a:buNone/>
              <a:defRPr sz="2000" b="1"/>
            </a:lvl2pPr>
            <a:lvl3pPr marL="896076" indent="0">
              <a:buNone/>
              <a:defRPr sz="1800" b="1"/>
            </a:lvl3pPr>
            <a:lvl4pPr marL="1344114" indent="0">
              <a:buNone/>
              <a:defRPr sz="1600" b="1"/>
            </a:lvl4pPr>
            <a:lvl5pPr marL="1792152" indent="0">
              <a:buNone/>
              <a:defRPr sz="1600" b="1"/>
            </a:lvl5pPr>
            <a:lvl6pPr marL="2240191" indent="0">
              <a:buNone/>
              <a:defRPr sz="1600" b="1"/>
            </a:lvl6pPr>
            <a:lvl7pPr marL="2688228" indent="0">
              <a:buNone/>
              <a:defRPr sz="1600" b="1"/>
            </a:lvl7pPr>
            <a:lvl8pPr marL="3136267" indent="0">
              <a:buNone/>
              <a:defRPr sz="1600" b="1"/>
            </a:lvl8pPr>
            <a:lvl9pPr marL="358430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567845" y="2281587"/>
            <a:ext cx="3942409" cy="1406693"/>
          </a:xfrm>
        </p:spPr>
        <p:txBody>
          <a:bodyPr/>
          <a:lstStyle>
            <a:lvl1pPr marL="227140" indent="-227140">
              <a:lnSpc>
                <a:spcPts val="2156"/>
              </a:lnSpc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24" indent="-225584">
              <a:lnSpc>
                <a:spcPts val="2156"/>
              </a:lnSpc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973" indent="-216250">
              <a:lnSpc>
                <a:spcPts val="2156"/>
              </a:lnSpc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347" indent="-224279">
              <a:defRPr sz="1700"/>
            </a:lvl4pPr>
            <a:lvl5pPr marL="1253626" indent="-202240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567845" y="4575689"/>
            <a:ext cx="3942410" cy="1561335"/>
          </a:xfrm>
        </p:spPr>
        <p:txBody>
          <a:bodyPr/>
          <a:lstStyle>
            <a:lvl1pPr marL="227140" indent="-227140">
              <a:spcBef>
                <a:spcPts val="0"/>
              </a:spcBef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724" indent="-225584">
              <a:spcBef>
                <a:spcPts val="0"/>
              </a:spcBef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68973" indent="-216250">
              <a:spcBef>
                <a:spcPts val="0"/>
              </a:spcBef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347" indent="-224279">
              <a:defRPr sz="1700"/>
            </a:lvl4pPr>
            <a:lvl5pPr marL="1253626" indent="-202240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9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A42E6FC1-EB8A-4A4E-9274-085DA52B8723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6120663" y="6282339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78959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11" y="454235"/>
            <a:ext cx="7824144" cy="488672"/>
          </a:xfrm>
        </p:spPr>
        <p:txBody>
          <a:bodyPr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D6F5966E-B0F1-444A-BC5E-4DC8B2437767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3" y="6282339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012244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6168702"/>
            <a:ext cx="8961438" cy="552773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89607" tIns="44804" rIns="89607" bIns="44804" numCol="1" rtlCol="0" anchor="ctr" anchorCtr="0" compatLnSpc="1">
            <a:prstTxWarp prst="textNoShape">
              <a:avLst/>
            </a:prstTxWarp>
          </a:bodyPr>
          <a:lstStyle/>
          <a:p>
            <a:pPr defTabSz="895817" fontAlgn="auto">
              <a:spcBef>
                <a:spcPts val="0"/>
              </a:spcBef>
              <a:spcAft>
                <a:spcPts val="0"/>
              </a:spcAft>
            </a:pPr>
            <a:endParaRPr lang="en-US" sz="2300" b="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E258D855-AF7B-49A9-A37F-F0984EE94521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3" y="6282339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99914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41" Type="http://schemas.openxmlformats.org/officeDocument/2006/relationships/tags" Target="../tags/tag6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5.v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9" Type="http://schemas.openxmlformats.org/officeDocument/2006/relationships/tags" Target="../tags/tag11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92.xml"/><Relationship Id="rId34" Type="http://schemas.openxmlformats.org/officeDocument/2006/relationships/tags" Target="../tags/tag105.xml"/><Relationship Id="rId42" Type="http://schemas.openxmlformats.org/officeDocument/2006/relationships/tags" Target="../tags/tag113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33" Type="http://schemas.openxmlformats.org/officeDocument/2006/relationships/tags" Target="../tags/tag104.xml"/><Relationship Id="rId38" Type="http://schemas.openxmlformats.org/officeDocument/2006/relationships/tags" Target="../tags/tag109.xml"/><Relationship Id="rId46" Type="http://schemas.openxmlformats.org/officeDocument/2006/relationships/oleObject" Target="../embeddings/oleObject5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tags" Target="../tags/tag100.xml"/><Relationship Id="rId41" Type="http://schemas.openxmlformats.org/officeDocument/2006/relationships/tags" Target="../tags/tag11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95.xml"/><Relationship Id="rId32" Type="http://schemas.openxmlformats.org/officeDocument/2006/relationships/tags" Target="../tags/tag103.xml"/><Relationship Id="rId37" Type="http://schemas.openxmlformats.org/officeDocument/2006/relationships/tags" Target="../tags/tag108.xml"/><Relationship Id="rId40" Type="http://schemas.openxmlformats.org/officeDocument/2006/relationships/tags" Target="../tags/tag111.xml"/><Relationship Id="rId45" Type="http://schemas.openxmlformats.org/officeDocument/2006/relationships/tags" Target="../tags/tag116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tags" Target="../tags/tag99.xml"/><Relationship Id="rId36" Type="http://schemas.openxmlformats.org/officeDocument/2006/relationships/tags" Target="../tags/tag107.xml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90.xml"/><Relationship Id="rId31" Type="http://schemas.openxmlformats.org/officeDocument/2006/relationships/tags" Target="../tags/tag102.xml"/><Relationship Id="rId44" Type="http://schemas.openxmlformats.org/officeDocument/2006/relationships/tags" Target="../tags/tag115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tags" Target="../tags/tag106.xml"/><Relationship Id="rId43" Type="http://schemas.openxmlformats.org/officeDocument/2006/relationships/tags" Target="../tags/tag1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7.vml"/><Relationship Id="rId18" Type="http://schemas.openxmlformats.org/officeDocument/2006/relationships/tags" Target="../tags/tag138.xml"/><Relationship Id="rId26" Type="http://schemas.openxmlformats.org/officeDocument/2006/relationships/tags" Target="../tags/tag146.xml"/><Relationship Id="rId39" Type="http://schemas.openxmlformats.org/officeDocument/2006/relationships/tags" Target="../tags/tag159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141.xml"/><Relationship Id="rId34" Type="http://schemas.openxmlformats.org/officeDocument/2006/relationships/tags" Target="../tags/tag154.xml"/><Relationship Id="rId42" Type="http://schemas.openxmlformats.org/officeDocument/2006/relationships/tags" Target="../tags/tag162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tags" Target="../tags/tag137.xml"/><Relationship Id="rId25" Type="http://schemas.openxmlformats.org/officeDocument/2006/relationships/tags" Target="../tags/tag145.xml"/><Relationship Id="rId33" Type="http://schemas.openxmlformats.org/officeDocument/2006/relationships/tags" Target="../tags/tag153.xml"/><Relationship Id="rId38" Type="http://schemas.openxmlformats.org/officeDocument/2006/relationships/tags" Target="../tags/tag158.xml"/><Relationship Id="rId46" Type="http://schemas.openxmlformats.org/officeDocument/2006/relationships/oleObject" Target="../embeddings/oleObject7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36.xml"/><Relationship Id="rId20" Type="http://schemas.openxmlformats.org/officeDocument/2006/relationships/tags" Target="../tags/tag140.xml"/><Relationship Id="rId29" Type="http://schemas.openxmlformats.org/officeDocument/2006/relationships/tags" Target="../tags/tag149.xml"/><Relationship Id="rId41" Type="http://schemas.openxmlformats.org/officeDocument/2006/relationships/tags" Target="../tags/tag161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tags" Target="../tags/tag144.xml"/><Relationship Id="rId32" Type="http://schemas.openxmlformats.org/officeDocument/2006/relationships/tags" Target="../tags/tag152.xml"/><Relationship Id="rId37" Type="http://schemas.openxmlformats.org/officeDocument/2006/relationships/tags" Target="../tags/tag157.xml"/><Relationship Id="rId40" Type="http://schemas.openxmlformats.org/officeDocument/2006/relationships/tags" Target="../tags/tag160.xml"/><Relationship Id="rId45" Type="http://schemas.openxmlformats.org/officeDocument/2006/relationships/tags" Target="../tags/tag165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35.xml"/><Relationship Id="rId23" Type="http://schemas.openxmlformats.org/officeDocument/2006/relationships/tags" Target="../tags/tag143.xml"/><Relationship Id="rId28" Type="http://schemas.openxmlformats.org/officeDocument/2006/relationships/tags" Target="../tags/tag148.xml"/><Relationship Id="rId36" Type="http://schemas.openxmlformats.org/officeDocument/2006/relationships/tags" Target="../tags/tag156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139.xml"/><Relationship Id="rId31" Type="http://schemas.openxmlformats.org/officeDocument/2006/relationships/tags" Target="../tags/tag151.xml"/><Relationship Id="rId44" Type="http://schemas.openxmlformats.org/officeDocument/2006/relationships/tags" Target="../tags/tag1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134.xml"/><Relationship Id="rId22" Type="http://schemas.openxmlformats.org/officeDocument/2006/relationships/tags" Target="../tags/tag142.xml"/><Relationship Id="rId27" Type="http://schemas.openxmlformats.org/officeDocument/2006/relationships/tags" Target="../tags/tag147.xml"/><Relationship Id="rId30" Type="http://schemas.openxmlformats.org/officeDocument/2006/relationships/tags" Target="../tags/tag150.xml"/><Relationship Id="rId35" Type="http://schemas.openxmlformats.org/officeDocument/2006/relationships/tags" Target="../tags/tag155.xml"/><Relationship Id="rId43" Type="http://schemas.openxmlformats.org/officeDocument/2006/relationships/tags" Target="../tags/tag16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9.v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9" Type="http://schemas.openxmlformats.org/officeDocument/2006/relationships/tags" Target="../tags/tag208.xml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190.xml"/><Relationship Id="rId34" Type="http://schemas.openxmlformats.org/officeDocument/2006/relationships/tags" Target="../tags/tag203.xml"/><Relationship Id="rId42" Type="http://schemas.openxmlformats.org/officeDocument/2006/relationships/tags" Target="../tags/tag211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tags" Target="../tags/tag202.xml"/><Relationship Id="rId38" Type="http://schemas.openxmlformats.org/officeDocument/2006/relationships/tags" Target="../tags/tag207.xml"/><Relationship Id="rId46" Type="http://schemas.openxmlformats.org/officeDocument/2006/relationships/oleObject" Target="../embeddings/oleObject9.bin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tags" Target="../tags/tag198.xml"/><Relationship Id="rId41" Type="http://schemas.openxmlformats.org/officeDocument/2006/relationships/tags" Target="../tags/tag21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ags" Target="../tags/tag193.xml"/><Relationship Id="rId32" Type="http://schemas.openxmlformats.org/officeDocument/2006/relationships/tags" Target="../tags/tag201.xml"/><Relationship Id="rId37" Type="http://schemas.openxmlformats.org/officeDocument/2006/relationships/tags" Target="../tags/tag206.xml"/><Relationship Id="rId40" Type="http://schemas.openxmlformats.org/officeDocument/2006/relationships/tags" Target="../tags/tag209.xml"/><Relationship Id="rId45" Type="http://schemas.openxmlformats.org/officeDocument/2006/relationships/tags" Target="../tags/tag214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36" Type="http://schemas.openxmlformats.org/officeDocument/2006/relationships/tags" Target="../tags/tag205.xml"/><Relationship Id="rId10" Type="http://schemas.openxmlformats.org/officeDocument/2006/relationships/slideLayout" Target="../slideLayouts/slideLayout54.xml"/><Relationship Id="rId19" Type="http://schemas.openxmlformats.org/officeDocument/2006/relationships/tags" Target="../tags/tag188.xml"/><Relationship Id="rId31" Type="http://schemas.openxmlformats.org/officeDocument/2006/relationships/tags" Target="../tags/tag200.xml"/><Relationship Id="rId44" Type="http://schemas.openxmlformats.org/officeDocument/2006/relationships/tags" Target="../tags/tag21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35" Type="http://schemas.openxmlformats.org/officeDocument/2006/relationships/tags" Target="../tags/tag204.xml"/><Relationship Id="rId43" Type="http://schemas.openxmlformats.org/officeDocument/2006/relationships/tags" Target="../tags/tag21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11.vml"/><Relationship Id="rId18" Type="http://schemas.openxmlformats.org/officeDocument/2006/relationships/tags" Target="../tags/tag236.xml"/><Relationship Id="rId26" Type="http://schemas.openxmlformats.org/officeDocument/2006/relationships/tags" Target="../tags/tag244.xml"/><Relationship Id="rId39" Type="http://schemas.openxmlformats.org/officeDocument/2006/relationships/tags" Target="../tags/tag257.xml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239.xml"/><Relationship Id="rId34" Type="http://schemas.openxmlformats.org/officeDocument/2006/relationships/tags" Target="../tags/tag252.xml"/><Relationship Id="rId42" Type="http://schemas.openxmlformats.org/officeDocument/2006/relationships/tags" Target="../tags/tag260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tags" Target="../tags/tag251.xml"/><Relationship Id="rId38" Type="http://schemas.openxmlformats.org/officeDocument/2006/relationships/tags" Target="../tags/tag256.xml"/><Relationship Id="rId46" Type="http://schemas.openxmlformats.org/officeDocument/2006/relationships/oleObject" Target="../embeddings/oleObject11.bin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29" Type="http://schemas.openxmlformats.org/officeDocument/2006/relationships/tags" Target="../tags/tag247.xml"/><Relationship Id="rId41" Type="http://schemas.openxmlformats.org/officeDocument/2006/relationships/tags" Target="../tags/tag259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ags" Target="../tags/tag242.xml"/><Relationship Id="rId32" Type="http://schemas.openxmlformats.org/officeDocument/2006/relationships/tags" Target="../tags/tag250.xml"/><Relationship Id="rId37" Type="http://schemas.openxmlformats.org/officeDocument/2006/relationships/tags" Target="../tags/tag255.xml"/><Relationship Id="rId40" Type="http://schemas.openxmlformats.org/officeDocument/2006/relationships/tags" Target="../tags/tag258.xml"/><Relationship Id="rId45" Type="http://schemas.openxmlformats.org/officeDocument/2006/relationships/tags" Target="../tags/tag263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36" Type="http://schemas.openxmlformats.org/officeDocument/2006/relationships/tags" Target="../tags/tag254.xml"/><Relationship Id="rId10" Type="http://schemas.openxmlformats.org/officeDocument/2006/relationships/slideLayout" Target="../slideLayouts/slideLayout65.xml"/><Relationship Id="rId19" Type="http://schemas.openxmlformats.org/officeDocument/2006/relationships/tags" Target="../tags/tag237.xml"/><Relationship Id="rId31" Type="http://schemas.openxmlformats.org/officeDocument/2006/relationships/tags" Target="../tags/tag249.xml"/><Relationship Id="rId44" Type="http://schemas.openxmlformats.org/officeDocument/2006/relationships/tags" Target="../tags/tag262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tags" Target="../tags/tag253.xml"/><Relationship Id="rId43" Type="http://schemas.openxmlformats.org/officeDocument/2006/relationships/tags" Target="../tags/tag2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8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0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0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7" name="Rectangle 7"/>
          <p:cNvGrpSpPr>
            <a:grpSpLocks/>
          </p:cNvGrpSpPr>
          <p:nvPr userDrawn="1">
            <p:custDataLst>
              <p:tags r:id="rId15"/>
            </p:custDataLst>
          </p:nvPr>
        </p:nvGrpSpPr>
        <p:grpSpPr bwMode="auto">
          <a:xfrm>
            <a:off x="-19048" y="6146802"/>
            <a:ext cx="8993188" cy="587375"/>
            <a:chOff x="-12" y="3951"/>
            <a:chExt cx="5780" cy="377"/>
          </a:xfrm>
        </p:grpSpPr>
        <p:pic>
          <p:nvPicPr>
            <p:cNvPr id="1082" name="Rectangle 7"/>
            <p:cNvPicPr>
              <a:picLocks noChangeArrowheads="1"/>
            </p:cNvPicPr>
            <p:nvPr/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-12" y="3951"/>
              <a:ext cx="5780" cy="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1979" name="Text Box 59"/>
            <p:cNvSpPr txBox="1">
              <a:spLocks noChangeArrowheads="1"/>
            </p:cNvSpPr>
            <p:nvPr/>
          </p:nvSpPr>
          <p:spPr bwMode="gray">
            <a:xfrm>
              <a:off x="0" y="3965"/>
              <a:ext cx="5760" cy="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511" tIns="44757" rIns="89511" bIns="44757" anchor="ctr"/>
            <a:lstStyle>
              <a:lvl1pPr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728663" indent="-28098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120775" indent="-225425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568450" indent="-22383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2016125" indent="-22383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4733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9305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3877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844925" indent="-22383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defRPr/>
              </a:pPr>
              <a:endParaRPr lang="en-CA" sz="2300" b="0" dirty="0" smtClean="0">
                <a:solidFill>
                  <a:srgbClr val="4B3E00"/>
                </a:solidFill>
                <a:latin typeface="Segoe"/>
              </a:endParaRPr>
            </a:p>
          </p:txBody>
        </p:sp>
      </p:grpSp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22240" y="230190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2698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663300"/>
                </a:solidFill>
              </a:rPr>
              <a:t>TRACKER</a:t>
            </a:r>
          </a:p>
        </p:txBody>
      </p:sp>
      <p:sp>
        <p:nvSpPr>
          <p:cNvPr id="81924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19063" y="531813"/>
            <a:ext cx="36560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algn="l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400" b="0" dirty="0" smtClean="0">
                <a:solidFill>
                  <a:srgbClr val="663300"/>
                </a:solidFill>
                <a:cs typeface="+mn-cs"/>
              </a:rPr>
              <a:t>Unit of measure</a:t>
            </a:r>
          </a:p>
        </p:txBody>
      </p:sp>
      <p:grpSp>
        <p:nvGrpSpPr>
          <p:cNvPr id="1031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080" name="AutoShape 6" hidden="1"/>
            <p:cNvCxnSpPr>
              <a:cxnSpLocks noChangeShapeType="1"/>
              <a:stCxn id="1081" idx="4"/>
              <a:endCxn id="108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1" name="AutoShape 7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70" anchor="b">
              <a:spAutoFit/>
            </a:bodyPr>
            <a:lstStyle/>
            <a:p>
              <a:pPr algn="l"/>
              <a:r>
                <a:rPr lang="en-US" sz="1600">
                  <a:solidFill>
                    <a:srgbClr val="663300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663300"/>
                  </a:solidFill>
                </a:rPr>
                <a:t>Unit of measure</a:t>
              </a:r>
            </a:p>
          </p:txBody>
        </p:sp>
      </p:grpSp>
      <p:sp>
        <p:nvSpPr>
          <p:cNvPr id="1032" name="doc id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60"/>
            <a:endParaRPr lang="en-CA" b="0">
              <a:solidFill>
                <a:srgbClr val="663300"/>
              </a:solidFill>
            </a:endParaRPr>
          </a:p>
        </p:txBody>
      </p:sp>
      <p:sp>
        <p:nvSpPr>
          <p:cNvPr id="1033" name="Rectangle 11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1452565" y="1704975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4" name="McK Slide Elements"/>
          <p:cNvGrpSpPr>
            <a:grpSpLocks/>
          </p:cNvGrpSpPr>
          <p:nvPr userDrawn="1"/>
        </p:nvGrpSpPr>
        <p:grpSpPr bwMode="auto">
          <a:xfrm>
            <a:off x="119065" y="5954713"/>
            <a:ext cx="8624887" cy="561975"/>
            <a:chOff x="75" y="3751"/>
            <a:chExt cx="5433" cy="354"/>
          </a:xfrm>
        </p:grpSpPr>
        <p:sp>
          <p:nvSpPr>
            <p:cNvPr id="81934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51"/>
              <a:ext cx="543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algn="l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US" altLang="zh-CN" sz="1000" b="0" dirty="0" smtClean="0">
                  <a:solidFill>
                    <a:srgbClr val="663300"/>
                  </a:solidFill>
                  <a:ea typeface="SimSun" pitchFamily="2" charset="-122"/>
                  <a:cs typeface="+mn-cs"/>
                </a:rPr>
                <a:t>1 Footnote</a:t>
              </a:r>
            </a:p>
          </p:txBody>
        </p:sp>
        <p:sp>
          <p:nvSpPr>
            <p:cNvPr id="1079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9"/>
              <a:ext cx="3501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95196" indent="-495196" algn="l" defTabSz="895160">
                <a:tabLst>
                  <a:tab pos="487259" algn="l"/>
                </a:tabLst>
              </a:pPr>
              <a:r>
                <a:rPr lang="en-US" altLang="zh-CN" sz="1000" b="0">
                  <a:solidFill>
                    <a:srgbClr val="663300"/>
                  </a:solidFill>
                  <a:ea typeface="SimSun" pitchFamily="2" charset="-122"/>
                </a:rPr>
                <a:t>Source:	Sourc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7897814" y="288926"/>
            <a:ext cx="849312" cy="977901"/>
            <a:chOff x="3394" y="519"/>
            <a:chExt cx="535" cy="616"/>
          </a:xfrm>
        </p:grpSpPr>
        <p:sp>
          <p:nvSpPr>
            <p:cNvPr id="1070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071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072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073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074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1</a:t>
              </a:r>
            </a:p>
          </p:txBody>
        </p:sp>
        <p:sp>
          <p:nvSpPr>
            <p:cNvPr id="1075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2</a:t>
              </a:r>
            </a:p>
          </p:txBody>
        </p:sp>
        <p:sp>
          <p:nvSpPr>
            <p:cNvPr id="1076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3</a:t>
              </a:r>
            </a:p>
          </p:txBody>
        </p:sp>
        <p:sp>
          <p:nvSpPr>
            <p:cNvPr id="1077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4</a:t>
              </a:r>
            </a:p>
          </p:txBody>
        </p:sp>
      </p:grpSp>
      <p:grpSp>
        <p:nvGrpSpPr>
          <p:cNvPr id="1036" name="LegendLin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580314" y="288930"/>
            <a:ext cx="1166812" cy="708026"/>
            <a:chOff x="2411" y="2750"/>
            <a:chExt cx="735" cy="446"/>
          </a:xfrm>
        </p:grpSpPr>
        <p:sp>
          <p:nvSpPr>
            <p:cNvPr id="1064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5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6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67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1</a:t>
              </a:r>
            </a:p>
          </p:txBody>
        </p:sp>
        <p:sp>
          <p:nvSpPr>
            <p:cNvPr id="1068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2</a:t>
              </a:r>
            </a:p>
          </p:txBody>
        </p:sp>
        <p:sp>
          <p:nvSpPr>
            <p:cNvPr id="1069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rgbClr val="663300"/>
                  </a:solidFill>
                </a:rPr>
                <a:t>Legend3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646988" y="288926"/>
            <a:ext cx="1093787" cy="212725"/>
            <a:chOff x="4817" y="376"/>
            <a:chExt cx="689" cy="134"/>
          </a:xfrm>
        </p:grpSpPr>
        <p:cxnSp>
          <p:nvCxnSpPr>
            <p:cNvPr id="1061" name="AutoShape 54" hidden="1"/>
            <p:cNvCxnSpPr>
              <a:cxnSpLocks noChangeShapeType="1"/>
              <a:stCxn id="1062" idx="4"/>
              <a:endCxn id="1062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62" name="AutoShape 55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07" tIns="0" rIns="0" bIns="27407">
              <a:spAutoFit/>
            </a:bodyPr>
            <a:lstStyle/>
            <a:p>
              <a:pPr algn="r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663300"/>
                  </a:solidFill>
                </a:rPr>
                <a:t>ILLUSTRATIVE</a:t>
              </a:r>
            </a:p>
          </p:txBody>
        </p:sp>
        <p:cxnSp>
          <p:nvCxnSpPr>
            <p:cNvPr id="1063" name="AutoShape 56" hidden="1"/>
            <p:cNvCxnSpPr>
              <a:cxnSpLocks noChangeShapeType="1"/>
              <a:stCxn id="1062" idx="2"/>
              <a:endCxn id="1062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6302377" y="6378575"/>
            <a:ext cx="20764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160">
              <a:defRPr b="0"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2 Bill &amp; Melinda Gates Foundation       |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448677" y="6356350"/>
            <a:ext cx="1555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160">
              <a:defRPr sz="1000" b="0">
                <a:cs typeface="+mn-cs"/>
              </a:defRPr>
            </a:lvl1pPr>
          </a:lstStyle>
          <a:p>
            <a:pPr>
              <a:defRPr/>
            </a:pPr>
            <a:fld id="{4B8509D8-B417-441A-9F1B-A4D9C62D1E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1040" name="LegendMoons" hidden="1"/>
          <p:cNvGrpSpPr>
            <a:grpSpLocks/>
          </p:cNvGrpSpPr>
          <p:nvPr userDrawn="1"/>
        </p:nvGrpSpPr>
        <p:grpSpPr bwMode="auto">
          <a:xfrm>
            <a:off x="7881940" y="288926"/>
            <a:ext cx="865187" cy="1235076"/>
            <a:chOff x="4965" y="1464"/>
            <a:chExt cx="545" cy="778"/>
          </a:xfrm>
        </p:grpSpPr>
        <p:grpSp>
          <p:nvGrpSpPr>
            <p:cNvPr id="1041" name="MoonLegend1" hidden="1"/>
            <p:cNvGrpSpPr>
              <a:grpSpLocks noChangeAspect="1"/>
            </p:cNvGrpSpPr>
            <p:nvPr userDrawn="1">
              <p:custDataLst>
                <p:tags r:id="rId25"/>
              </p:custDataLst>
            </p:nvPr>
          </p:nvGrpSpPr>
          <p:grpSpPr bwMode="auto">
            <a:xfrm>
              <a:off x="4965" y="1466"/>
              <a:ext cx="112" cy="112"/>
              <a:chOff x="4533" y="183"/>
              <a:chExt cx="144" cy="144"/>
            </a:xfrm>
          </p:grpSpPr>
          <p:sp>
            <p:nvSpPr>
              <p:cNvPr id="1059" name="Oval 102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60" name="Arc 103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1042" name="MoonLegend2" hidden="1"/>
            <p:cNvGrpSpPr>
              <a:grpSpLocks noChangeAspect="1"/>
            </p:cNvGrpSpPr>
            <p:nvPr userDrawn="1">
              <p:custDataLst>
                <p:tags r:id="rId26"/>
              </p:custDataLst>
            </p:nvPr>
          </p:nvGrpSpPr>
          <p:grpSpPr bwMode="auto">
            <a:xfrm>
              <a:off x="4965" y="1630"/>
              <a:ext cx="112" cy="112"/>
              <a:chOff x="1694" y="2044"/>
              <a:chExt cx="160" cy="160"/>
            </a:xfrm>
          </p:grpSpPr>
          <p:sp>
            <p:nvSpPr>
              <p:cNvPr id="1057" name="Oval 105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58" name="Arc 106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1043" name="MoonLegend3" hidden="1"/>
            <p:cNvGrpSpPr>
              <a:grpSpLocks noChangeAspect="1"/>
            </p:cNvGrpSpPr>
            <p:nvPr userDrawn="1">
              <p:custDataLst>
                <p:tags r:id="rId27"/>
              </p:custDataLst>
            </p:nvPr>
          </p:nvGrpSpPr>
          <p:grpSpPr bwMode="auto">
            <a:xfrm>
              <a:off x="4965" y="1795"/>
              <a:ext cx="112" cy="112"/>
              <a:chOff x="4495" y="897"/>
              <a:chExt cx="160" cy="160"/>
            </a:xfrm>
          </p:grpSpPr>
          <p:sp>
            <p:nvSpPr>
              <p:cNvPr id="1055" name="Oval 108" hidden="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56" name="Arc 109" hidden="1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1044" name="MoonLegend4" hidden="1"/>
            <p:cNvGrpSpPr>
              <a:grpSpLocks noChangeAspect="1"/>
            </p:cNvGrpSpPr>
            <p:nvPr userDrawn="1">
              <p:custDataLst>
                <p:tags r:id="rId28"/>
              </p:custDataLst>
            </p:nvPr>
          </p:nvGrpSpPr>
          <p:grpSpPr bwMode="auto">
            <a:xfrm>
              <a:off x="4965" y="1962"/>
              <a:ext cx="112" cy="112"/>
              <a:chOff x="4495" y="1198"/>
              <a:chExt cx="160" cy="160"/>
            </a:xfrm>
          </p:grpSpPr>
          <p:sp>
            <p:nvSpPr>
              <p:cNvPr id="1053" name="Oval 111" hidden="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54" name="Arc 112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1045" name="Legend1" hidden="1"/>
            <p:cNvSpPr>
              <a:spLocks noChangeArrowheads="1"/>
            </p:cNvSpPr>
            <p:nvPr userDrawn="1"/>
          </p:nvSpPr>
          <p:spPr bwMode="gray">
            <a:xfrm>
              <a:off x="5135" y="146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1046" name="Legend2" hidden="1"/>
            <p:cNvSpPr>
              <a:spLocks noChangeArrowheads="1"/>
            </p:cNvSpPr>
            <p:nvPr userDrawn="1"/>
          </p:nvSpPr>
          <p:spPr bwMode="gray">
            <a:xfrm>
              <a:off x="5135" y="162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1047" name="Legend3" hidden="1"/>
            <p:cNvSpPr>
              <a:spLocks noChangeArrowheads="1"/>
            </p:cNvSpPr>
            <p:nvPr userDrawn="1"/>
          </p:nvSpPr>
          <p:spPr bwMode="gray">
            <a:xfrm>
              <a:off x="5135" y="179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1048" name="Legend4" hidden="1"/>
            <p:cNvSpPr>
              <a:spLocks noChangeArrowheads="1"/>
            </p:cNvSpPr>
            <p:nvPr userDrawn="1"/>
          </p:nvSpPr>
          <p:spPr bwMode="gray">
            <a:xfrm>
              <a:off x="5135" y="196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1049" name="Legend5" hidden="1"/>
            <p:cNvSpPr>
              <a:spLocks noChangeArrowheads="1"/>
            </p:cNvSpPr>
            <p:nvPr userDrawn="1"/>
          </p:nvSpPr>
          <p:spPr bwMode="gray">
            <a:xfrm>
              <a:off x="5135" y="212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  <p:grpSp>
          <p:nvGrpSpPr>
            <p:cNvPr id="1050" name="MoonLegend5" hidden="1"/>
            <p:cNvGrpSpPr>
              <a:grpSpLocks noChangeAspect="1"/>
            </p:cNvGrpSpPr>
            <p:nvPr userDrawn="1">
              <p:custDataLst>
                <p:tags r:id="rId29"/>
              </p:custDataLst>
            </p:nvPr>
          </p:nvGrpSpPr>
          <p:grpSpPr bwMode="auto">
            <a:xfrm>
              <a:off x="4965" y="2127"/>
              <a:ext cx="112" cy="112"/>
              <a:chOff x="4773" y="1962"/>
              <a:chExt cx="112" cy="112"/>
            </a:xfrm>
          </p:grpSpPr>
          <p:sp>
            <p:nvSpPr>
              <p:cNvPr id="1051" name="Oval 122" hidden="1"/>
              <p:cNvSpPr>
                <a:spLocks noChangeAspect="1" noChangeArrowheads="1"/>
              </p:cNvSpPr>
              <p:nvPr userDrawn="1">
                <p:custDataLst>
                  <p:tags r:id="rId30"/>
                </p:custDataLst>
              </p:nvPr>
            </p:nvSpPr>
            <p:spPr bwMode="gray">
              <a:xfrm>
                <a:off x="4773" y="1962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1052" name="Oval 123" hidden="1"/>
              <p:cNvSpPr>
                <a:spLocks noChangeAspect="1" noChangeArrowheads="1"/>
              </p:cNvSpPr>
              <p:nvPr userDrawn="1">
                <p:custDataLst>
                  <p:tags r:id="rId31"/>
                </p:custDataLst>
              </p:nvPr>
            </p:nvSpPr>
            <p:spPr bwMode="gray">
              <a:xfrm>
                <a:off x="4773" y="1962"/>
                <a:ext cx="112" cy="11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rgbClr val="663300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rgbClr val="663300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SzPct val="125000"/>
        <a:buFont typeface="Arial" pitchFamily="34" charset="0"/>
        <a:buChar char="▪"/>
        <a:defRPr sz="1600">
          <a:solidFill>
            <a:srgbClr val="663300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rgbClr val="CC3300"/>
        </a:buClr>
        <a:buSzPct val="120000"/>
        <a:buFont typeface="Arial" pitchFamily="34" charset="0"/>
        <a:buChar char="–"/>
        <a:defRPr sz="1600">
          <a:solidFill>
            <a:srgbClr val="663300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rgbClr val="CC3300"/>
        </a:buClr>
        <a:buSzPct val="120000"/>
        <a:buFont typeface="Arial" pitchFamily="34" charset="0"/>
        <a:buChar char="▫"/>
        <a:defRPr sz="1600">
          <a:solidFill>
            <a:srgbClr val="663300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rgbClr val="CC3300"/>
        </a:buClr>
        <a:buSzPct val="89000"/>
        <a:buFont typeface="Arial" pitchFamily="34" charset="0"/>
        <a:buChar char="-"/>
        <a:defRPr sz="1600">
          <a:solidFill>
            <a:srgbClr val="663300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rgbClr val="CC3300"/>
        </a:buClr>
        <a:buSzPct val="89000"/>
        <a:buFont typeface="Arial" pitchFamily="34" charset="0"/>
        <a:buChar char="-"/>
        <a:defRPr sz="1600">
          <a:solidFill>
            <a:srgbClr val="663300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rgbClr val="CC3300"/>
        </a:buClr>
        <a:buSzPct val="89000"/>
        <a:buFont typeface="Arial" pitchFamily="34" charset="0"/>
        <a:buChar char="-"/>
        <a:defRPr sz="1600">
          <a:solidFill>
            <a:srgbClr val="663300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rgbClr val="CC3300"/>
        </a:buClr>
        <a:buSzPct val="89000"/>
        <a:buFont typeface="Arial" pitchFamily="34" charset="0"/>
        <a:buChar char="-"/>
        <a:defRPr sz="1600">
          <a:solidFill>
            <a:srgbClr val="663300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rgbClr val="CC3300"/>
        </a:buClr>
        <a:buSzPct val="89000"/>
        <a:buFont typeface="Arial" pitchFamily="34" charset="0"/>
        <a:buChar char="-"/>
        <a:defRPr sz="1600">
          <a:solidFill>
            <a:srgbClr val="6633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11" y="454156"/>
            <a:ext cx="7824144" cy="488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111" y="1540132"/>
            <a:ext cx="7824144" cy="44031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896076" fontAlgn="auto">
              <a:spcBef>
                <a:spcPts val="0"/>
              </a:spcBef>
              <a:spcAft>
                <a:spcPts val="0"/>
              </a:spcAft>
            </a:pPr>
            <a:fld id="{752B443E-ACC1-44A0-A4F3-526D9C9F9367}" type="datetime4"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pPr defTabSz="896076" fontAlgn="auto">
                <a:spcBef>
                  <a:spcPts val="0"/>
                </a:spcBef>
                <a:spcAft>
                  <a:spcPts val="0"/>
                </a:spcAft>
              </a:pPr>
              <a:t>June 11, 2012</a:t>
            </a:fld>
            <a:endParaRPr lang="en-US" b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3" y="6282339"/>
            <a:ext cx="2260167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896076" fontAlgn="auto">
              <a:spcBef>
                <a:spcPts val="0"/>
              </a:spcBef>
              <a:spcAft>
                <a:spcPts val="0"/>
              </a:spcAft>
            </a:pPr>
            <a:r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t>© 2010 Bill &amp; Melinda Gates Foundation       | </a:t>
            </a:r>
            <a:endParaRPr lang="en-US" b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defTabSz="896076" fontAlgn="auto">
              <a:spcBef>
                <a:spcPts val="0"/>
              </a:spcBef>
              <a:spcAft>
                <a:spcPts val="0"/>
              </a:spcAft>
            </a:pPr>
            <a:fld id="{01052961-14CD-45D2-98DF-50022118EB18}" type="slidenum"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pPr defTabSz="89607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23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</p:sldLayoutIdLst>
  <p:transition>
    <p:fade/>
  </p:transition>
  <p:hf hdr="0"/>
  <p:txStyles>
    <p:titleStyle>
      <a:lvl1pPr algn="l" defTabSz="896076" rtl="0" eaLnBrk="1" latinLnBrk="0" hangingPunct="1">
        <a:lnSpc>
          <a:spcPct val="90000"/>
        </a:lnSpc>
        <a:spcBef>
          <a:spcPct val="0"/>
        </a:spcBef>
        <a:buNone/>
        <a:defRPr lang="en-US" sz="35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Arial" charset="0"/>
        </a:defRPr>
      </a:lvl1pPr>
    </p:titleStyle>
    <p:bodyStyle>
      <a:lvl1pPr marL="224028" indent="-224028" algn="l" defTabSz="896076" rtl="0" eaLnBrk="1" latinLnBrk="0" hangingPunct="1">
        <a:lnSpc>
          <a:spcPts val="2548"/>
        </a:lnSpc>
        <a:spcBef>
          <a:spcPts val="0"/>
        </a:spcBef>
        <a:spcAft>
          <a:spcPts val="392"/>
        </a:spcAft>
        <a:buClr>
          <a:schemeClr val="accent2"/>
        </a:buClr>
        <a:buFont typeface="Wingdings" pitchFamily="2" charset="2"/>
        <a:buChar char="§"/>
        <a:defRPr sz="2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48056" indent="-224028" algn="l" defTabSz="896076" rtl="0" eaLnBrk="1" latinLnBrk="0" hangingPunct="1">
        <a:lnSpc>
          <a:spcPts val="2352"/>
        </a:lnSpc>
        <a:spcBef>
          <a:spcPts val="0"/>
        </a:spcBef>
        <a:spcAft>
          <a:spcPts val="392"/>
        </a:spcAft>
        <a:buClr>
          <a:schemeClr val="accent2"/>
        </a:buClr>
        <a:buSzPct val="125000"/>
        <a:buFont typeface="Arial" pitchFamily="34" charset="0"/>
        <a:buChar char="•"/>
        <a:defRPr sz="2000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68973" indent="-220917" algn="l" defTabSz="896076" rtl="0" eaLnBrk="1" latinLnBrk="0" hangingPunct="1">
        <a:lnSpc>
          <a:spcPts val="2450"/>
        </a:lnSpc>
        <a:spcBef>
          <a:spcPts val="0"/>
        </a:spcBef>
        <a:spcAft>
          <a:spcPts val="392"/>
        </a:spcAft>
        <a:buClr>
          <a:schemeClr val="accent2"/>
        </a:buClr>
        <a:buSzPct val="90000"/>
        <a:buFont typeface="Arial" pitchFamily="34" charset="0"/>
        <a:buChar char="−"/>
        <a:defRPr sz="180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84098" indent="-161798" algn="l" defTabSz="896076" rtl="0" eaLnBrk="1" latinLnBrk="0" hangingPunct="1">
        <a:lnSpc>
          <a:spcPts val="2156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600" b="1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58342" indent="-174244" algn="l" defTabSz="896076" rtl="0" eaLnBrk="1" latinLnBrk="0" hangingPunct="1">
        <a:lnSpc>
          <a:spcPts val="196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64209" indent="-224019" algn="l" defTabSz="896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247" indent="-224019" algn="l" defTabSz="896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286" indent="-224019" algn="l" defTabSz="896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324" indent="-224019" algn="l" defTabSz="89607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38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76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14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152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191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228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267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305" algn="l" defTabSz="8960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485" r="266" b="1608"/>
          <a:stretch>
            <a:fillRect/>
          </a:stretch>
        </p:blipFill>
        <p:spPr bwMode="auto">
          <a:xfrm>
            <a:off x="0" y="6159502"/>
            <a:ext cx="89614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5" y="246064"/>
            <a:ext cx="861853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3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554039"/>
            <a:ext cx="3656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054" name="McK Slide Elements"/>
          <p:cNvGrpSpPr>
            <a:grpSpLocks/>
          </p:cNvGrpSpPr>
          <p:nvPr/>
        </p:nvGrpSpPr>
        <p:grpSpPr bwMode="auto">
          <a:xfrm>
            <a:off x="119063" y="5935665"/>
            <a:ext cx="8548687" cy="573087"/>
            <a:chOff x="75" y="3739"/>
            <a:chExt cx="5385" cy="361"/>
          </a:xfrm>
        </p:grpSpPr>
        <p:sp>
          <p:nvSpPr>
            <p:cNvPr id="2107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39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000" b="0" smtClean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2108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4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algn="l" defTabSz="895160">
                <a:tabLst>
                  <a:tab pos="612645" algn="l"/>
                </a:tabLst>
              </a:pPr>
              <a:r>
                <a:rPr lang="en-US" sz="1000" b="0"/>
                <a:t>SOURCE: Source</a:t>
              </a:r>
            </a:p>
          </p:txBody>
        </p:sp>
      </p:grpSp>
      <p:grpSp>
        <p:nvGrpSpPr>
          <p:cNvPr id="205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5" y="1282700"/>
            <a:ext cx="4264025" cy="508000"/>
            <a:chOff x="915" y="710"/>
            <a:chExt cx="2686" cy="320"/>
          </a:xfrm>
        </p:grpSpPr>
        <p:cxnSp>
          <p:nvCxnSpPr>
            <p:cNvPr id="2105" name="AutoShape 11" hidden="1"/>
            <p:cNvCxnSpPr>
              <a:cxnSpLocks noChangeShapeType="1"/>
              <a:stCxn id="2106" idx="4"/>
              <a:endCxn id="210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106" name="AutoShape 12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8925" name="Rectangle 13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545513" y="6378575"/>
            <a:ext cx="1952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4157A2B-E30E-43D4-AEFA-A2913FFE4ED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8927" name="Working Draft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 rot="5400000">
            <a:off x="7989094" y="2786858"/>
            <a:ext cx="18049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CA" sz="600" b="0" dirty="0" smtClean="0"/>
              <a:t>Working Draft - Last Modified 27/04/2012 1:22:42 PM</a:t>
            </a:r>
            <a:endParaRPr lang="en-US" sz="1600" b="0" dirty="0" smtClean="0"/>
          </a:p>
        </p:txBody>
      </p:sp>
      <p:sp>
        <p:nvSpPr>
          <p:cNvPr id="38928" name="Printed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 rot="5400000">
            <a:off x="8383590" y="4248152"/>
            <a:ext cx="1016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b="0" dirty="0" smtClean="0"/>
              <a:t>Printed 4/16/2012 5:38:49 PM</a:t>
            </a:r>
            <a:endParaRPr lang="en-US" sz="1600" b="0" dirty="0" smtClean="0"/>
          </a:p>
        </p:txBody>
      </p:sp>
      <p:sp>
        <p:nvSpPr>
          <p:cNvPr id="2059" name="Rectangle 17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1452565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60" name="SlideLogoSeparator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45114" y="6363236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160"/>
            <a:r>
              <a:rPr lang="en-US" sz="1200" b="0"/>
              <a:t>|</a:t>
            </a:r>
          </a:p>
        </p:txBody>
      </p:sp>
      <p:grpSp>
        <p:nvGrpSpPr>
          <p:cNvPr id="2061" name="LegendBox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97814" y="295276"/>
            <a:ext cx="849312" cy="977901"/>
            <a:chOff x="3394" y="519"/>
            <a:chExt cx="535" cy="616"/>
          </a:xfrm>
        </p:grpSpPr>
        <p:sp>
          <p:nvSpPr>
            <p:cNvPr id="2097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98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99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100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101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102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103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2104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2062" name="LegendLine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580314" y="295280"/>
            <a:ext cx="1166812" cy="708026"/>
            <a:chOff x="2411" y="2750"/>
            <a:chExt cx="735" cy="446"/>
          </a:xfrm>
        </p:grpSpPr>
        <p:sp>
          <p:nvSpPr>
            <p:cNvPr id="2091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92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93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94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095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096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2063" name="LegendMoon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81940" y="295275"/>
            <a:ext cx="865187" cy="1235076"/>
            <a:chOff x="4965" y="484"/>
            <a:chExt cx="545" cy="778"/>
          </a:xfrm>
        </p:grpSpPr>
        <p:grpSp>
          <p:nvGrpSpPr>
            <p:cNvPr id="2071" name="MoonLegend1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2089" name="Oval 35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2090" name="Arc 36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2072" name="MoonLegend2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2087" name="Oval 38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2088" name="Arc 39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2073" name="MoonLegend3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2085" name="Oval 41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2086" name="Arc 42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2074" name="MoonLegend4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2083" name="Oval 44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2084" name="Arc 45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2075" name="MoonLegend5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2081" name="Oval 4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2082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2076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2077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2078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2079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2080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2064" name="Sticker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646988" y="295276"/>
            <a:ext cx="1093787" cy="212725"/>
            <a:chOff x="4817" y="376"/>
            <a:chExt cx="689" cy="134"/>
          </a:xfrm>
        </p:grpSpPr>
        <p:cxnSp>
          <p:nvCxnSpPr>
            <p:cNvPr id="2068" name="AutoShape 55" hidden="1"/>
            <p:cNvCxnSpPr>
              <a:cxnSpLocks noChangeShapeType="1"/>
              <a:stCxn id="2069" idx="4"/>
              <a:endCxn id="2069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2069" name="AutoShape 56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2070" name="AutoShape 57" hidden="1"/>
            <p:cNvCxnSpPr>
              <a:cxnSpLocks noChangeShapeType="1"/>
              <a:stCxn id="2069" idx="2"/>
              <a:endCxn id="2069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2065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2066" name="Text Box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59550" y="6408738"/>
            <a:ext cx="1820863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b="0" smtClean="0"/>
              <a:t>© 2012 Bill &amp; Melinda Gates Foundation</a:t>
            </a:r>
            <a:endParaRPr lang="en-US" b="0" smtClean="0">
              <a:solidFill>
                <a:schemeClr val="tx1"/>
              </a:solidFill>
            </a:endParaRPr>
          </a:p>
        </p:txBody>
      </p:sp>
      <p:sp>
        <p:nvSpPr>
          <p:cNvPr id="2067" name="McK 1. On-page tracker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9063" y="2063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</p:sldLayoutIdLst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5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485" r="266" b="1608"/>
          <a:stretch>
            <a:fillRect/>
          </a:stretch>
        </p:blipFill>
        <p:spPr bwMode="auto">
          <a:xfrm>
            <a:off x="0" y="6159502"/>
            <a:ext cx="89614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6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5" y="246064"/>
            <a:ext cx="861853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7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554039"/>
            <a:ext cx="3656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3078" name="McK Slide Elements"/>
          <p:cNvGrpSpPr>
            <a:grpSpLocks/>
          </p:cNvGrpSpPr>
          <p:nvPr/>
        </p:nvGrpSpPr>
        <p:grpSpPr bwMode="auto">
          <a:xfrm>
            <a:off x="119063" y="5935665"/>
            <a:ext cx="8548687" cy="573087"/>
            <a:chOff x="75" y="3739"/>
            <a:chExt cx="5385" cy="361"/>
          </a:xfrm>
        </p:grpSpPr>
        <p:sp>
          <p:nvSpPr>
            <p:cNvPr id="3131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39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000" b="0" smtClean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3132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4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algn="l" defTabSz="895160">
                <a:tabLst>
                  <a:tab pos="612645" algn="l"/>
                </a:tabLst>
              </a:pPr>
              <a:r>
                <a:rPr lang="en-US" sz="1000" b="0"/>
                <a:t>SOURCE: Source</a:t>
              </a:r>
            </a:p>
          </p:txBody>
        </p:sp>
      </p:grpSp>
      <p:grpSp>
        <p:nvGrpSpPr>
          <p:cNvPr id="3079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5" y="1282700"/>
            <a:ext cx="4264025" cy="508000"/>
            <a:chOff x="915" y="710"/>
            <a:chExt cx="2686" cy="320"/>
          </a:xfrm>
        </p:grpSpPr>
        <p:cxnSp>
          <p:nvCxnSpPr>
            <p:cNvPr id="3129" name="AutoShape 11" hidden="1"/>
            <p:cNvCxnSpPr>
              <a:cxnSpLocks noChangeShapeType="1"/>
              <a:stCxn id="3130" idx="4"/>
              <a:endCxn id="313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130" name="AutoShape 12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8925" name="Rectangle 13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545513" y="6378575"/>
            <a:ext cx="1952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694941-C16B-49D0-8BD5-37507DBB26EE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8927" name="Working Draft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 rot="5400000">
            <a:off x="7980281" y="2788316"/>
            <a:ext cx="182261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CA" sz="600" b="0" dirty="0" smtClean="0"/>
              <a:t>Working Draft - Last Modified 27/04/2012 1:22:42 PM</a:t>
            </a:r>
            <a:endParaRPr lang="en-US" sz="1600" b="0" dirty="0" smtClean="0"/>
          </a:p>
        </p:txBody>
      </p:sp>
      <p:sp>
        <p:nvSpPr>
          <p:cNvPr id="38928" name="Printed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 rot="5400000">
            <a:off x="8383590" y="4248152"/>
            <a:ext cx="1016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b="0" dirty="0" smtClean="0"/>
              <a:t>Printed 4/16/2012 5:38:49 PM</a:t>
            </a:r>
            <a:endParaRPr lang="en-US" sz="1600" b="0" dirty="0" smtClean="0"/>
          </a:p>
        </p:txBody>
      </p:sp>
      <p:sp>
        <p:nvSpPr>
          <p:cNvPr id="3083" name="Rectangle 17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1452565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84" name="SlideLogoSeparator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45114" y="6363236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160"/>
            <a:r>
              <a:rPr lang="en-US" sz="1200" b="0"/>
              <a:t>|</a:t>
            </a:r>
          </a:p>
        </p:txBody>
      </p:sp>
      <p:grpSp>
        <p:nvGrpSpPr>
          <p:cNvPr id="3085" name="LegendBox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97814" y="295276"/>
            <a:ext cx="849312" cy="977901"/>
            <a:chOff x="3394" y="519"/>
            <a:chExt cx="535" cy="616"/>
          </a:xfrm>
        </p:grpSpPr>
        <p:sp>
          <p:nvSpPr>
            <p:cNvPr id="3121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3122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3123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3124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3125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126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127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3128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3086" name="LegendLine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580314" y="295280"/>
            <a:ext cx="1166812" cy="708026"/>
            <a:chOff x="2411" y="2750"/>
            <a:chExt cx="735" cy="446"/>
          </a:xfrm>
        </p:grpSpPr>
        <p:sp>
          <p:nvSpPr>
            <p:cNvPr id="3115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16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17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18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119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120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3087" name="LegendMoon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81940" y="295275"/>
            <a:ext cx="865187" cy="1235076"/>
            <a:chOff x="4965" y="484"/>
            <a:chExt cx="545" cy="778"/>
          </a:xfrm>
        </p:grpSpPr>
        <p:grpSp>
          <p:nvGrpSpPr>
            <p:cNvPr id="3095" name="MoonLegend1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3113" name="Oval 35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3114" name="Arc 36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3096" name="MoonLegend2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3111" name="Oval 38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3112" name="Arc 39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3097" name="MoonLegend3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3109" name="Oval 41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3110" name="Arc 42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3098" name="MoonLegend4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3107" name="Oval 44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3108" name="Arc 45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3099" name="MoonLegend5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3105" name="Oval 4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3106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3100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3101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3102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3103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3104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3088" name="Sticker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646988" y="295276"/>
            <a:ext cx="1093787" cy="212725"/>
            <a:chOff x="4817" y="376"/>
            <a:chExt cx="689" cy="134"/>
          </a:xfrm>
        </p:grpSpPr>
        <p:cxnSp>
          <p:nvCxnSpPr>
            <p:cNvPr id="3092" name="AutoShape 55" hidden="1"/>
            <p:cNvCxnSpPr>
              <a:cxnSpLocks noChangeShapeType="1"/>
              <a:stCxn id="3093" idx="4"/>
              <a:endCxn id="3093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093" name="AutoShape 56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3094" name="AutoShape 57" hidden="1"/>
            <p:cNvCxnSpPr>
              <a:cxnSpLocks noChangeShapeType="1"/>
              <a:stCxn id="3093" idx="2"/>
              <a:endCxn id="3093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3089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090" name="Text Box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59550" y="6408738"/>
            <a:ext cx="1820863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b="0" smtClean="0"/>
              <a:t>© 2012 Bill &amp; Melinda Gates Foundation</a:t>
            </a:r>
            <a:endParaRPr lang="en-US" b="0" smtClean="0">
              <a:solidFill>
                <a:schemeClr val="tx1"/>
              </a:solidFill>
            </a:endParaRPr>
          </a:p>
        </p:txBody>
      </p:sp>
      <p:sp>
        <p:nvSpPr>
          <p:cNvPr id="3091" name="McK 1. On-page tracker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9063" y="2063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</p:sldLayoutIdLst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485" r="266" b="1608"/>
          <a:stretch>
            <a:fillRect/>
          </a:stretch>
        </p:blipFill>
        <p:spPr bwMode="auto">
          <a:xfrm>
            <a:off x="0" y="6159502"/>
            <a:ext cx="89614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0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5" y="246064"/>
            <a:ext cx="861853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554039"/>
            <a:ext cx="3656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4102" name="McK Slide Elements"/>
          <p:cNvGrpSpPr>
            <a:grpSpLocks/>
          </p:cNvGrpSpPr>
          <p:nvPr/>
        </p:nvGrpSpPr>
        <p:grpSpPr bwMode="auto">
          <a:xfrm>
            <a:off x="119063" y="5935665"/>
            <a:ext cx="8548687" cy="573087"/>
            <a:chOff x="75" y="3739"/>
            <a:chExt cx="5385" cy="361"/>
          </a:xfrm>
        </p:grpSpPr>
        <p:sp>
          <p:nvSpPr>
            <p:cNvPr id="4155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39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000" b="0" smtClean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4156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4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algn="l" defTabSz="895160">
                <a:tabLst>
                  <a:tab pos="612645" algn="l"/>
                </a:tabLst>
              </a:pPr>
              <a:r>
                <a:rPr lang="en-US" sz="1000" b="0"/>
                <a:t>SOURCE: Source</a:t>
              </a:r>
            </a:p>
          </p:txBody>
        </p:sp>
      </p:grpSp>
      <p:grpSp>
        <p:nvGrpSpPr>
          <p:cNvPr id="4103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5" y="1282700"/>
            <a:ext cx="4264025" cy="508000"/>
            <a:chOff x="915" y="710"/>
            <a:chExt cx="2686" cy="320"/>
          </a:xfrm>
        </p:grpSpPr>
        <p:cxnSp>
          <p:nvCxnSpPr>
            <p:cNvPr id="4153" name="AutoShape 11" hidden="1"/>
            <p:cNvCxnSpPr>
              <a:cxnSpLocks noChangeShapeType="1"/>
              <a:stCxn id="4154" idx="4"/>
              <a:endCxn id="415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154" name="AutoShape 12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8925" name="Rectangle 13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545513" y="6378575"/>
            <a:ext cx="1952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739C6FA-CF32-4579-A78E-2E5364CB864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8927" name="Working Draft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 rot="5400000">
            <a:off x="7989094" y="2786858"/>
            <a:ext cx="18049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CA" sz="600" b="0" dirty="0" smtClean="0"/>
              <a:t>Working Draft - Last Modified 27/04/2012 1:22:42 PM</a:t>
            </a:r>
            <a:endParaRPr lang="en-US" sz="1600" b="0" dirty="0" smtClean="0"/>
          </a:p>
        </p:txBody>
      </p:sp>
      <p:sp>
        <p:nvSpPr>
          <p:cNvPr id="38928" name="Printed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 rot="5400000">
            <a:off x="8383590" y="4248152"/>
            <a:ext cx="1016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b="0" dirty="0" smtClean="0"/>
              <a:t>Printed 4/16/2012 5:38:49 PM</a:t>
            </a:r>
            <a:endParaRPr lang="en-US" sz="1600" b="0" dirty="0" smtClean="0"/>
          </a:p>
        </p:txBody>
      </p:sp>
      <p:sp>
        <p:nvSpPr>
          <p:cNvPr id="4107" name="Rectangle 17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1452565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8" name="SlideLogoSeparator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45114" y="6363236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160"/>
            <a:r>
              <a:rPr lang="en-US" sz="1200" b="0"/>
              <a:t>|</a:t>
            </a:r>
          </a:p>
        </p:txBody>
      </p:sp>
      <p:grpSp>
        <p:nvGrpSpPr>
          <p:cNvPr id="4109" name="LegendBox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97814" y="295276"/>
            <a:ext cx="849312" cy="977901"/>
            <a:chOff x="3394" y="519"/>
            <a:chExt cx="535" cy="616"/>
          </a:xfrm>
        </p:grpSpPr>
        <p:sp>
          <p:nvSpPr>
            <p:cNvPr id="4145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4146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4147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4148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4149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4150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4151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4152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4110" name="LegendLine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580314" y="295280"/>
            <a:ext cx="1166812" cy="708026"/>
            <a:chOff x="2411" y="2750"/>
            <a:chExt cx="735" cy="446"/>
          </a:xfrm>
        </p:grpSpPr>
        <p:sp>
          <p:nvSpPr>
            <p:cNvPr id="4139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0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1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2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4143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4144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4111" name="LegendMoon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81940" y="295275"/>
            <a:ext cx="865187" cy="1235076"/>
            <a:chOff x="4965" y="484"/>
            <a:chExt cx="545" cy="778"/>
          </a:xfrm>
        </p:grpSpPr>
        <p:grpSp>
          <p:nvGrpSpPr>
            <p:cNvPr id="4119" name="MoonLegend1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4137" name="Oval 35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4138" name="Arc 36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4120" name="MoonLegend2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4135" name="Oval 38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4136" name="Arc 39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4121" name="MoonLegend3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4133" name="Oval 41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4134" name="Arc 42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4122" name="MoonLegend4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4131" name="Oval 44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4132" name="Arc 45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4123" name="MoonLegend5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4129" name="Oval 4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4130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4124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4125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4126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4127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4128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4112" name="Sticker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646988" y="295276"/>
            <a:ext cx="1093787" cy="212725"/>
            <a:chOff x="4817" y="376"/>
            <a:chExt cx="689" cy="134"/>
          </a:xfrm>
        </p:grpSpPr>
        <p:cxnSp>
          <p:nvCxnSpPr>
            <p:cNvPr id="4116" name="AutoShape 55" hidden="1"/>
            <p:cNvCxnSpPr>
              <a:cxnSpLocks noChangeShapeType="1"/>
              <a:stCxn id="4117" idx="4"/>
              <a:endCxn id="4117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117" name="AutoShape 56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4118" name="AutoShape 57" hidden="1"/>
            <p:cNvCxnSpPr>
              <a:cxnSpLocks noChangeShapeType="1"/>
              <a:stCxn id="4117" idx="2"/>
              <a:endCxn id="4117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4113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4114" name="Text Box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59550" y="6408738"/>
            <a:ext cx="1820863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b="0" smtClean="0"/>
              <a:t>© 2012 Bill &amp; Melinda Gates Foundation</a:t>
            </a:r>
            <a:endParaRPr lang="en-US" b="0" smtClean="0">
              <a:solidFill>
                <a:schemeClr val="tx1"/>
              </a:solidFill>
            </a:endParaRPr>
          </a:p>
        </p:txBody>
      </p:sp>
      <p:sp>
        <p:nvSpPr>
          <p:cNvPr id="4115" name="McK 1. On-page tracker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9063" y="2063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3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485" r="266" b="1608"/>
          <a:stretch>
            <a:fillRect/>
          </a:stretch>
        </p:blipFill>
        <p:spPr bwMode="auto">
          <a:xfrm>
            <a:off x="0" y="6159502"/>
            <a:ext cx="89614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4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5" y="246064"/>
            <a:ext cx="861853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5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554039"/>
            <a:ext cx="3656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6" name="McK Slide Elements"/>
          <p:cNvGrpSpPr>
            <a:grpSpLocks/>
          </p:cNvGrpSpPr>
          <p:nvPr/>
        </p:nvGrpSpPr>
        <p:grpSpPr bwMode="auto">
          <a:xfrm>
            <a:off x="119063" y="5935665"/>
            <a:ext cx="8548687" cy="573087"/>
            <a:chOff x="75" y="3739"/>
            <a:chExt cx="5385" cy="361"/>
          </a:xfrm>
        </p:grpSpPr>
        <p:sp>
          <p:nvSpPr>
            <p:cNvPr id="5179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39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000" b="0" smtClean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5180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4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algn="l" defTabSz="895160">
                <a:tabLst>
                  <a:tab pos="612645" algn="l"/>
                </a:tabLst>
              </a:pPr>
              <a:r>
                <a:rPr lang="en-US" sz="1000" b="0"/>
                <a:t>SOURCE: Source</a:t>
              </a:r>
            </a:p>
          </p:txBody>
        </p:sp>
      </p:grpSp>
      <p:grpSp>
        <p:nvGrpSpPr>
          <p:cNvPr id="5127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5" y="1282700"/>
            <a:ext cx="4264025" cy="508000"/>
            <a:chOff x="915" y="710"/>
            <a:chExt cx="2686" cy="320"/>
          </a:xfrm>
        </p:grpSpPr>
        <p:cxnSp>
          <p:nvCxnSpPr>
            <p:cNvPr id="5177" name="AutoShape 11" hidden="1"/>
            <p:cNvCxnSpPr>
              <a:cxnSpLocks noChangeShapeType="1"/>
              <a:stCxn id="5178" idx="4"/>
              <a:endCxn id="517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178" name="AutoShape 12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8925" name="Rectangle 13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545513" y="6378575"/>
            <a:ext cx="1952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5B0371-E8A4-477C-9C08-076D4B4CEA7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8927" name="Working Draft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 rot="5400000">
            <a:off x="7989094" y="2786858"/>
            <a:ext cx="18049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CA" sz="600" b="0" dirty="0" smtClean="0"/>
              <a:t>Working Draft - Last Modified 27/04/2012 1:22:42 PM</a:t>
            </a:r>
            <a:endParaRPr lang="en-US" sz="1600" b="0" dirty="0" smtClean="0"/>
          </a:p>
        </p:txBody>
      </p:sp>
      <p:sp>
        <p:nvSpPr>
          <p:cNvPr id="38928" name="Printed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 rot="5400000">
            <a:off x="8383590" y="4248152"/>
            <a:ext cx="1016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b="0" dirty="0" smtClean="0"/>
              <a:t>Printed 4/16/2012 5:38:49 PM</a:t>
            </a:r>
            <a:endParaRPr lang="en-US" sz="1600" b="0" dirty="0" smtClean="0"/>
          </a:p>
        </p:txBody>
      </p:sp>
      <p:sp>
        <p:nvSpPr>
          <p:cNvPr id="5131" name="Rectangle 17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1452565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32" name="SlideLogoSeparator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45114" y="6363236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160"/>
            <a:r>
              <a:rPr lang="en-US" sz="1200" b="0"/>
              <a:t>|</a:t>
            </a:r>
          </a:p>
        </p:txBody>
      </p:sp>
      <p:grpSp>
        <p:nvGrpSpPr>
          <p:cNvPr id="5133" name="LegendBox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97814" y="295276"/>
            <a:ext cx="849312" cy="977901"/>
            <a:chOff x="3394" y="519"/>
            <a:chExt cx="535" cy="616"/>
          </a:xfrm>
        </p:grpSpPr>
        <p:sp>
          <p:nvSpPr>
            <p:cNvPr id="5169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5170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5171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5172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5173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5174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5175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5176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5134" name="LegendLine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580314" y="295280"/>
            <a:ext cx="1166812" cy="708026"/>
            <a:chOff x="2411" y="2750"/>
            <a:chExt cx="735" cy="446"/>
          </a:xfrm>
        </p:grpSpPr>
        <p:sp>
          <p:nvSpPr>
            <p:cNvPr id="5163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64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65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166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5167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5168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5135" name="LegendMoon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81940" y="295275"/>
            <a:ext cx="865187" cy="1235076"/>
            <a:chOff x="4965" y="484"/>
            <a:chExt cx="545" cy="778"/>
          </a:xfrm>
        </p:grpSpPr>
        <p:grpSp>
          <p:nvGrpSpPr>
            <p:cNvPr id="5143" name="MoonLegend1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5161" name="Oval 35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5162" name="Arc 36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5144" name="MoonLegend2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5159" name="Oval 38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5160" name="Arc 39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5145" name="MoonLegend3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5157" name="Oval 41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5158" name="Arc 42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5146" name="MoonLegend4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5155" name="Oval 44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5156" name="Arc 45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5147" name="MoonLegend5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5153" name="Oval 4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5154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5148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5149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5150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5151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5152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5136" name="Sticker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646988" y="295276"/>
            <a:ext cx="1093787" cy="212725"/>
            <a:chOff x="4817" y="376"/>
            <a:chExt cx="689" cy="134"/>
          </a:xfrm>
        </p:grpSpPr>
        <p:cxnSp>
          <p:nvCxnSpPr>
            <p:cNvPr id="5140" name="AutoShape 55" hidden="1"/>
            <p:cNvCxnSpPr>
              <a:cxnSpLocks noChangeShapeType="1"/>
              <a:stCxn id="5141" idx="4"/>
              <a:endCxn id="5141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5141" name="AutoShape 56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5142" name="AutoShape 57" hidden="1"/>
            <p:cNvCxnSpPr>
              <a:cxnSpLocks noChangeShapeType="1"/>
              <a:stCxn id="5141" idx="2"/>
              <a:endCxn id="5141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5137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5138" name="Text Box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59550" y="6408738"/>
            <a:ext cx="1820863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b="0" smtClean="0"/>
              <a:t>© 2012 Bill &amp; Melinda Gates Foundation</a:t>
            </a:r>
            <a:endParaRPr lang="en-US" b="0" smtClean="0">
              <a:solidFill>
                <a:schemeClr val="tx1"/>
              </a:solidFill>
            </a:endParaRPr>
          </a:p>
        </p:txBody>
      </p:sp>
      <p:sp>
        <p:nvSpPr>
          <p:cNvPr id="5139" name="McK 1. On-page tracker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9063" y="2063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</p:sldLayoutIdLst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" name="think-cell Slide" r:id="rId46" imgW="0" imgH="0" progId="TCLayout.ActiveDocument.1">
                  <p:embed/>
                </p:oleObj>
              </mc:Choice>
              <mc:Fallback>
                <p:oleObj name="think-cell Slide" r:id="rId4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485" r="266" b="1608"/>
          <a:stretch>
            <a:fillRect/>
          </a:stretch>
        </p:blipFill>
        <p:spPr bwMode="auto">
          <a:xfrm>
            <a:off x="0" y="6159502"/>
            <a:ext cx="89614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4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5" y="246064"/>
            <a:ext cx="861853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9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554039"/>
            <a:ext cx="3656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sz="1400" b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6150" name="McK Slide Elements"/>
          <p:cNvGrpSpPr>
            <a:grpSpLocks/>
          </p:cNvGrpSpPr>
          <p:nvPr/>
        </p:nvGrpSpPr>
        <p:grpSpPr bwMode="auto">
          <a:xfrm>
            <a:off x="119063" y="5935665"/>
            <a:ext cx="8548687" cy="573087"/>
            <a:chOff x="75" y="3739"/>
            <a:chExt cx="5385" cy="361"/>
          </a:xfrm>
        </p:grpSpPr>
        <p:sp>
          <p:nvSpPr>
            <p:cNvPr id="6203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739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895350" eaLnBrk="0" hangingPunct="0"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8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000" b="0" smtClean="0">
                  <a:solidFill>
                    <a:schemeClr val="tx1"/>
                  </a:solidFill>
                </a:rPr>
                <a:t>1 Footnote</a:t>
              </a:r>
            </a:p>
          </p:txBody>
        </p:sp>
        <p:sp>
          <p:nvSpPr>
            <p:cNvPr id="6204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04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algn="l" defTabSz="895160">
                <a:tabLst>
                  <a:tab pos="612645" algn="l"/>
                </a:tabLst>
              </a:pPr>
              <a:r>
                <a:rPr lang="en-US" sz="1000" b="0"/>
                <a:t>SOURCE: Source</a:t>
              </a:r>
            </a:p>
          </p:txBody>
        </p:sp>
      </p:grpSp>
      <p:grpSp>
        <p:nvGrpSpPr>
          <p:cNvPr id="6151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5" y="1282700"/>
            <a:ext cx="4264025" cy="508000"/>
            <a:chOff x="915" y="710"/>
            <a:chExt cx="2686" cy="320"/>
          </a:xfrm>
        </p:grpSpPr>
        <p:cxnSp>
          <p:nvCxnSpPr>
            <p:cNvPr id="6201" name="AutoShape 11" hidden="1"/>
            <p:cNvCxnSpPr>
              <a:cxnSpLocks noChangeShapeType="1"/>
              <a:stCxn id="6202" idx="4"/>
              <a:endCxn id="620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202" name="AutoShape 12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7" anchor="b">
              <a:spAutoFit/>
            </a:bodyPr>
            <a:lstStyle/>
            <a:p>
              <a:pPr algn="l"/>
              <a:r>
                <a:rPr lang="en-US" sz="1600">
                  <a:solidFill>
                    <a:schemeClr val="tx1"/>
                  </a:solidFill>
                </a:rPr>
                <a:t>Title</a:t>
              </a:r>
            </a:p>
            <a:p>
              <a:pPr algn="l"/>
              <a:r>
                <a:rPr lang="en-US" sz="16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8925" name="Rectangle 13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gray">
          <a:xfrm>
            <a:off x="8545513" y="6378575"/>
            <a:ext cx="1952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4081682-44C6-467F-A65E-24D9FDB3F9BB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38927" name="Working Draft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 rot="5400000">
            <a:off x="7980281" y="2788316"/>
            <a:ext cx="1822615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CA" sz="600" b="0" dirty="0" smtClean="0"/>
              <a:t>Working Draft - Last Modified 27/04/2012 1:22:42 PM</a:t>
            </a:r>
            <a:endParaRPr lang="en-US" sz="1600" b="0" dirty="0" smtClean="0"/>
          </a:p>
        </p:txBody>
      </p:sp>
      <p:sp>
        <p:nvSpPr>
          <p:cNvPr id="38928" name="Printed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 rot="5400000">
            <a:off x="8383590" y="4248152"/>
            <a:ext cx="1016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b="0" dirty="0" smtClean="0"/>
              <a:t>Printed 4/16/2012 5:38:49 PM</a:t>
            </a:r>
            <a:endParaRPr lang="en-US" sz="1600" b="0" dirty="0" smtClean="0"/>
          </a:p>
        </p:txBody>
      </p:sp>
      <p:sp>
        <p:nvSpPr>
          <p:cNvPr id="6155" name="Rectangle 17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1452565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156" name="SlideLogoSeparator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45114" y="6363236"/>
            <a:ext cx="4007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160"/>
            <a:r>
              <a:rPr lang="en-US" sz="1200" b="0"/>
              <a:t>|</a:t>
            </a:r>
          </a:p>
        </p:txBody>
      </p:sp>
      <p:grpSp>
        <p:nvGrpSpPr>
          <p:cNvPr id="6157" name="LegendBox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897814" y="295276"/>
            <a:ext cx="849312" cy="977901"/>
            <a:chOff x="3394" y="519"/>
            <a:chExt cx="535" cy="616"/>
          </a:xfrm>
        </p:grpSpPr>
        <p:sp>
          <p:nvSpPr>
            <p:cNvPr id="6193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6194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6195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6196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6197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6198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6199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6200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</p:grpSp>
      <p:grpSp>
        <p:nvGrpSpPr>
          <p:cNvPr id="6158" name="LegendLine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580314" y="295280"/>
            <a:ext cx="1166812" cy="708026"/>
            <a:chOff x="2411" y="2750"/>
            <a:chExt cx="735" cy="446"/>
          </a:xfrm>
        </p:grpSpPr>
        <p:sp>
          <p:nvSpPr>
            <p:cNvPr id="6187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88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89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190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6191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6192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</p:grpSp>
      <p:grpSp>
        <p:nvGrpSpPr>
          <p:cNvPr id="6159" name="LegendMoons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881940" y="295275"/>
            <a:ext cx="865187" cy="1235076"/>
            <a:chOff x="4965" y="484"/>
            <a:chExt cx="545" cy="778"/>
          </a:xfrm>
        </p:grpSpPr>
        <p:grpSp>
          <p:nvGrpSpPr>
            <p:cNvPr id="6167" name="MoonLegend1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6185" name="Oval 35" hidden="1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6186" name="Arc 36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6168" name="MoonLegend2" hidden="1"/>
            <p:cNvGrpSpPr>
              <a:grpSpLocks noChangeAspect="1"/>
            </p:cNvGrpSpPr>
            <p:nvPr userDrawn="1">
              <p:custDataLst>
                <p:tags r:id="rId32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6183" name="Oval 38" hidden="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6184" name="Arc 39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6169" name="MoonLegend3" hidden="1"/>
            <p:cNvGrpSpPr>
              <a:grpSpLocks noChangeAspect="1"/>
            </p:cNvGrpSpPr>
            <p:nvPr userDrawn="1">
              <p:custDataLst>
                <p:tags r:id="rId33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6181" name="Oval 41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6182" name="Arc 42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6170" name="MoonLegend4" hidden="1"/>
            <p:cNvGrpSpPr>
              <a:grpSpLocks noChangeAspect="1"/>
            </p:cNvGrpSpPr>
            <p:nvPr userDrawn="1">
              <p:custDataLst>
                <p:tags r:id="rId34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6179" name="Oval 44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6180" name="Arc 45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grpSp>
          <p:nvGrpSpPr>
            <p:cNvPr id="6171" name="MoonLegend5" hidden="1"/>
            <p:cNvGrpSpPr>
              <a:grpSpLocks noChangeAspect="1"/>
            </p:cNvGrpSpPr>
            <p:nvPr userDrawn="1">
              <p:custDataLst>
                <p:tags r:id="rId35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6177" name="Oval 47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  <p:sp>
            <p:nvSpPr>
              <p:cNvPr id="6178" name="Oval 48" hidden="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/>
              <a:lstStyle/>
              <a:p>
                <a:endParaRPr lang="en-US"/>
              </a:p>
            </p:txBody>
          </p:sp>
        </p:grpSp>
        <p:sp>
          <p:nvSpPr>
            <p:cNvPr id="6172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1</a:t>
              </a:r>
            </a:p>
          </p:txBody>
        </p:sp>
        <p:sp>
          <p:nvSpPr>
            <p:cNvPr id="6173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2</a:t>
              </a:r>
            </a:p>
          </p:txBody>
        </p:sp>
        <p:sp>
          <p:nvSpPr>
            <p:cNvPr id="6174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3</a:t>
              </a:r>
            </a:p>
          </p:txBody>
        </p:sp>
        <p:sp>
          <p:nvSpPr>
            <p:cNvPr id="6175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4</a:t>
              </a:r>
            </a:p>
          </p:txBody>
        </p:sp>
        <p:sp>
          <p:nvSpPr>
            <p:cNvPr id="6176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/>
              <a:r>
                <a:rPr lang="en-US" sz="1200" b="0">
                  <a:solidFill>
                    <a:schemeClr val="tx1"/>
                  </a:solidFill>
                </a:rPr>
                <a:t>Legend5</a:t>
              </a:r>
            </a:p>
          </p:txBody>
        </p:sp>
      </p:grpSp>
      <p:grpSp>
        <p:nvGrpSpPr>
          <p:cNvPr id="6160" name="Sticker" hidden="1"/>
          <p:cNvGrpSpPr>
            <a:grpSpLocks/>
          </p:cNvGrpSpPr>
          <p:nvPr>
            <p:custDataLst>
              <p:tags r:id="rId27"/>
            </p:custDataLst>
          </p:nvPr>
        </p:nvGrpSpPr>
        <p:grpSpPr bwMode="auto">
          <a:xfrm>
            <a:off x="7646988" y="295276"/>
            <a:ext cx="1093787" cy="212725"/>
            <a:chOff x="4817" y="376"/>
            <a:chExt cx="689" cy="134"/>
          </a:xfrm>
        </p:grpSpPr>
        <p:cxnSp>
          <p:nvCxnSpPr>
            <p:cNvPr id="6164" name="AutoShape 55" hidden="1"/>
            <p:cNvCxnSpPr>
              <a:cxnSpLocks noChangeShapeType="1"/>
              <a:stCxn id="6165" idx="4"/>
              <a:endCxn id="6165" idx="6"/>
            </p:cNvCxnSpPr>
            <p:nvPr userDrawn="1"/>
          </p:nvCxnSpPr>
          <p:spPr bwMode="gray">
            <a:xfrm>
              <a:off x="4817" y="510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6165" name="AutoShape 56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l" defTabSz="895160">
                <a:buClr>
                  <a:schemeClr val="tx2"/>
                </a:buClr>
              </a:pPr>
              <a:r>
                <a:rPr lang="en-US" sz="1200" b="0">
                  <a:solidFill>
                    <a:srgbClr val="808080"/>
                  </a:solidFill>
                </a:rPr>
                <a:t>ILLUSTRATIVE</a:t>
              </a:r>
            </a:p>
          </p:txBody>
        </p:sp>
        <p:cxnSp>
          <p:nvCxnSpPr>
            <p:cNvPr id="6166" name="AutoShape 57" hidden="1"/>
            <p:cNvCxnSpPr>
              <a:cxnSpLocks noChangeShapeType="1"/>
              <a:stCxn id="6165" idx="2"/>
              <a:endCxn id="6165" idx="4"/>
            </p:cNvCxnSpPr>
            <p:nvPr userDrawn="1"/>
          </p:nvCxnSpPr>
          <p:spPr bwMode="gray">
            <a:xfrm>
              <a:off x="4817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6161" name="doc id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8521163" y="2"/>
            <a:ext cx="21961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895160"/>
            <a:r>
              <a:rPr lang="en-US" sz="600" b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6162" name="Text Box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559550" y="6408738"/>
            <a:ext cx="1820863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defRPr/>
            </a:pPr>
            <a:r>
              <a:rPr lang="en-US" b="0" smtClean="0"/>
              <a:t>© 2012 Bill &amp; Melinda Gates Foundation</a:t>
            </a:r>
            <a:endParaRPr lang="en-US" b="0" smtClean="0">
              <a:solidFill>
                <a:schemeClr val="tx1"/>
              </a:solidFill>
            </a:endParaRPr>
          </a:p>
        </p:txBody>
      </p:sp>
      <p:sp>
        <p:nvSpPr>
          <p:cNvPr id="6163" name="McK 1. On-page tracker" hidden="1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19063" y="20639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1400" b="0">
                <a:solidFill>
                  <a:srgbClr val="808080"/>
                </a:solidFill>
              </a:rPr>
              <a:t>TRACK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</p:sldLayoutIdLst>
  <p:hf hdr="0" dt="0"/>
  <p:txStyles>
    <p:titleStyle>
      <a:lvl1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516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828" indent="-34282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102" indent="-26188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233" indent="-155542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5967" indent="-130148" algn="l" defTabSz="895160" rtl="0" eaLnBrk="0" fontAlgn="base" hangingPunct="0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070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173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276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379" indent="-130148" algn="l" defTabSz="895160" rtl="0" fontAlgn="base">
        <a:spcBef>
          <a:spcPct val="0"/>
        </a:spcBef>
        <a:spcAft>
          <a:spcPct val="0"/>
        </a:spcAft>
        <a:buClr>
          <a:schemeClr val="hlink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86111" y="454322"/>
            <a:ext cx="7824144" cy="48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6111" y="1540341"/>
            <a:ext cx="7824144" cy="440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157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 defTabSz="895886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7AB54E3-87AC-447F-AF03-3466EBFED245}" type="datetime4">
              <a:rPr lang="en-US" b="0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540" y="6282715"/>
            <a:ext cx="2260585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 defTabSz="895886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b="0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 defTabSz="895886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587EC97-BFBC-4951-82A2-6CE9B5B9C5A8}" type="slidenum">
              <a:rPr lang="en-US" b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b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111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</p:sldLayoutIdLst>
  <p:transition>
    <p:fade/>
  </p:transition>
  <p:hf hdr="0"/>
  <p:txStyles>
    <p:titleStyle>
      <a:lvl1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lang="en-US" sz="3500" b="1" kern="1200" dirty="0">
          <a:ln w="3175">
            <a:noFill/>
          </a:ln>
          <a:solidFill>
            <a:schemeClr val="tx1"/>
          </a:solidFill>
          <a:latin typeface="+mj-lt"/>
          <a:ea typeface="+mn-ea"/>
          <a:cs typeface="Arial" charset="0"/>
        </a:defRPr>
      </a:lvl1pPr>
      <a:lvl2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7962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95922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43884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91844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3980" indent="-223980" algn="l" defTabSz="894369" rtl="0" fontAlgn="base">
        <a:lnSpc>
          <a:spcPts val="2548"/>
        </a:lnSpc>
        <a:spcBef>
          <a:spcPct val="0"/>
        </a:spcBef>
        <a:spcAft>
          <a:spcPts val="392"/>
        </a:spcAft>
        <a:buClr>
          <a:schemeClr val="accent2"/>
        </a:buClr>
        <a:buFont typeface="Wingdings" pitchFamily="2" charset="2"/>
        <a:buChar char="§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7962" indent="-223980" algn="l" defTabSz="894369" rtl="0" fontAlgn="base">
        <a:lnSpc>
          <a:spcPts val="2352"/>
        </a:lnSpc>
        <a:spcBef>
          <a:spcPct val="0"/>
        </a:spcBef>
        <a:spcAft>
          <a:spcPts val="392"/>
        </a:spcAft>
        <a:buClr>
          <a:schemeClr val="accent2"/>
        </a:buClr>
        <a:buSzPct val="125000"/>
        <a:buFont typeface="Arial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68831" indent="-220870" algn="l" defTabSz="894369" rtl="0" fontAlgn="base">
        <a:lnSpc>
          <a:spcPts val="2450"/>
        </a:lnSpc>
        <a:spcBef>
          <a:spcPct val="0"/>
        </a:spcBef>
        <a:spcAft>
          <a:spcPts val="392"/>
        </a:spcAft>
        <a:buClr>
          <a:schemeClr val="accent2"/>
        </a:buClr>
        <a:buSzPct val="90000"/>
        <a:buFont typeface="Arial" pitchFamily="34" charset="0"/>
        <a:buChar char="−"/>
        <a:defRPr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83932" indent="-161763" algn="l" defTabSz="894369" rtl="0" fontAlgn="base">
        <a:lnSpc>
          <a:spcPts val="2156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958138" indent="-174207" algn="l" defTabSz="894369" rtl="0" fontAlgn="base">
        <a:lnSpc>
          <a:spcPts val="1960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463686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630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574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517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4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886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83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77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717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658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601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545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11" y="454156"/>
            <a:ext cx="7824144" cy="48867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111" y="1540134"/>
            <a:ext cx="7824144" cy="44031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895886" fontAlgn="auto">
              <a:spcBef>
                <a:spcPts val="0"/>
              </a:spcBef>
              <a:spcAft>
                <a:spcPts val="0"/>
              </a:spcAft>
            </a:pPr>
            <a:fld id="{752B443E-ACC1-44A0-A4F3-526D9C9F9367}" type="datetime4"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pPr defTabSz="895886" fontAlgn="auto">
                <a:spcBef>
                  <a:spcPts val="0"/>
                </a:spcBef>
                <a:spcAft>
                  <a:spcPts val="0"/>
                </a:spcAft>
              </a:pPr>
              <a:t>June 11, 2012</a:t>
            </a:fld>
            <a:endParaRPr lang="en-US" b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5" y="6282339"/>
            <a:ext cx="2260167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 defTabSz="895886" fontAlgn="auto">
              <a:spcBef>
                <a:spcPts val="0"/>
              </a:spcBef>
              <a:spcAft>
                <a:spcPts val="0"/>
              </a:spcAft>
            </a:pPr>
            <a:r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t>© 2010 Bill &amp; Melinda Gates Foundation       | </a:t>
            </a:r>
            <a:endParaRPr lang="en-US" b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defTabSz="895886" fontAlgn="auto">
              <a:spcBef>
                <a:spcPts val="0"/>
              </a:spcBef>
              <a:spcAft>
                <a:spcPts val="0"/>
              </a:spcAft>
            </a:pPr>
            <a:fld id="{01052961-14CD-45D2-98DF-50022118EB18}" type="slidenum">
              <a:rPr lang="en-US" b="0" smtClean="0">
                <a:solidFill>
                  <a:srgbClr val="FFFFFF"/>
                </a:solidFill>
                <a:latin typeface="Arial"/>
                <a:cs typeface="+mn-cs"/>
              </a:rPr>
              <a:pPr defTabSz="89588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b="0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691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48" r:id="rId9"/>
  </p:sldLayoutIdLst>
  <p:transition>
    <p:fade/>
  </p:transition>
  <p:hf hdr="0"/>
  <p:txStyles>
    <p:titleStyle>
      <a:lvl1pPr algn="l" defTabSz="895886" rtl="0" eaLnBrk="1" latinLnBrk="0" hangingPunct="1">
        <a:lnSpc>
          <a:spcPct val="90000"/>
        </a:lnSpc>
        <a:spcBef>
          <a:spcPct val="0"/>
        </a:spcBef>
        <a:buNone/>
        <a:defRPr lang="en-US" sz="35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Arial" charset="0"/>
        </a:defRPr>
      </a:lvl1pPr>
    </p:titleStyle>
    <p:bodyStyle>
      <a:lvl1pPr marL="223980" indent="-223980" algn="l" defTabSz="895886" rtl="0" eaLnBrk="1" latinLnBrk="0" hangingPunct="1">
        <a:lnSpc>
          <a:spcPts val="2548"/>
        </a:lnSpc>
        <a:spcBef>
          <a:spcPts val="0"/>
        </a:spcBef>
        <a:spcAft>
          <a:spcPts val="392"/>
        </a:spcAft>
        <a:buClr>
          <a:schemeClr val="accent2"/>
        </a:buClr>
        <a:buFont typeface="Wingdings" pitchFamily="2" charset="2"/>
        <a:buChar char="§"/>
        <a:defRPr sz="24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447962" indent="-223980" algn="l" defTabSz="895886" rtl="0" eaLnBrk="1" latinLnBrk="0" hangingPunct="1">
        <a:lnSpc>
          <a:spcPts val="2352"/>
        </a:lnSpc>
        <a:spcBef>
          <a:spcPts val="0"/>
        </a:spcBef>
        <a:spcAft>
          <a:spcPts val="392"/>
        </a:spcAft>
        <a:buClr>
          <a:schemeClr val="accent2"/>
        </a:buClr>
        <a:buSzPct val="125000"/>
        <a:buFont typeface="Arial" pitchFamily="34" charset="0"/>
        <a:buChar char="•"/>
        <a:defRPr sz="2000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68831" indent="-220870" algn="l" defTabSz="895886" rtl="0" eaLnBrk="1" latinLnBrk="0" hangingPunct="1">
        <a:lnSpc>
          <a:spcPts val="2450"/>
        </a:lnSpc>
        <a:spcBef>
          <a:spcPts val="0"/>
        </a:spcBef>
        <a:spcAft>
          <a:spcPts val="392"/>
        </a:spcAft>
        <a:buClr>
          <a:schemeClr val="accent2"/>
        </a:buClr>
        <a:buSzPct val="90000"/>
        <a:buFont typeface="Arial" pitchFamily="34" charset="0"/>
        <a:buChar char="−"/>
        <a:defRPr sz="180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783932" indent="-161763" algn="l" defTabSz="895886" rtl="0" eaLnBrk="1" latinLnBrk="0" hangingPunct="1">
        <a:lnSpc>
          <a:spcPts val="2156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600" b="1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58138" indent="-174207" algn="l" defTabSz="895886" rtl="0" eaLnBrk="1" latinLnBrk="0" hangingPunct="1">
        <a:lnSpc>
          <a:spcPts val="196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40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63686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630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574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517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4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886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83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77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717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658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601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545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86111" y="454322"/>
            <a:ext cx="7824144" cy="48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6111" y="1540341"/>
            <a:ext cx="7824144" cy="440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157"/>
            <a:ext cx="2091002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 defTabSz="895886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7AB54E3-87AC-447F-AF03-3466EBFED245}" type="datetime4">
              <a:rPr lang="en-US" b="0">
                <a:solidFill>
                  <a:srgbClr val="FFFFFF"/>
                </a:solidFill>
              </a:rPr>
              <a:pPr>
                <a:defRPr/>
              </a:pPr>
              <a:t>June 11, 2012</a:t>
            </a:fld>
            <a:endParaRPr lang="en-US" b="0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540" y="6282715"/>
            <a:ext cx="2260585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l" defTabSz="895886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b="0">
                <a:solidFill>
                  <a:srgbClr val="FFFFFF"/>
                </a:solidFill>
              </a:rPr>
              <a:t>© 2010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 vert="horz" lIns="89592" tIns="44797" rIns="89592" bIns="44797" rtlCol="0" anchor="ctr"/>
          <a:lstStyle>
            <a:lvl1pPr algn="r" defTabSz="895886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587EC97-BFBC-4951-82A2-6CE9B5B9C5A8}" type="slidenum">
              <a:rPr lang="en-US" b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b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34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</p:sldLayoutIdLst>
  <p:transition>
    <p:fade/>
  </p:transition>
  <p:hf hdr="0"/>
  <p:txStyles>
    <p:titleStyle>
      <a:lvl1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lang="en-US" sz="3500" b="1" kern="1200" dirty="0">
          <a:ln w="3175">
            <a:noFill/>
          </a:ln>
          <a:solidFill>
            <a:schemeClr val="tx1"/>
          </a:solidFill>
          <a:latin typeface="+mj-lt"/>
          <a:ea typeface="+mn-ea"/>
          <a:cs typeface="Arial" charset="0"/>
        </a:defRPr>
      </a:lvl1pPr>
      <a:lvl2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47962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895922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43884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791844" algn="l" defTabSz="894369" rtl="0" fontAlgn="base">
        <a:lnSpc>
          <a:spcPct val="90000"/>
        </a:lnSpc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3980" indent="-223980" algn="l" defTabSz="894369" rtl="0" fontAlgn="base">
        <a:lnSpc>
          <a:spcPts val="2548"/>
        </a:lnSpc>
        <a:spcBef>
          <a:spcPct val="0"/>
        </a:spcBef>
        <a:spcAft>
          <a:spcPts val="392"/>
        </a:spcAft>
        <a:buClr>
          <a:schemeClr val="accent2"/>
        </a:buClr>
        <a:buFont typeface="Wingdings" pitchFamily="2" charset="2"/>
        <a:buChar char="§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47962" indent="-223980" algn="l" defTabSz="894369" rtl="0" fontAlgn="base">
        <a:lnSpc>
          <a:spcPts val="2352"/>
        </a:lnSpc>
        <a:spcBef>
          <a:spcPct val="0"/>
        </a:spcBef>
        <a:spcAft>
          <a:spcPts val="392"/>
        </a:spcAft>
        <a:buClr>
          <a:schemeClr val="accent2"/>
        </a:buClr>
        <a:buSzPct val="125000"/>
        <a:buFont typeface="Arial" pitchFamily="34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68831" indent="-220870" algn="l" defTabSz="894369" rtl="0" fontAlgn="base">
        <a:lnSpc>
          <a:spcPts val="2450"/>
        </a:lnSpc>
        <a:spcBef>
          <a:spcPct val="0"/>
        </a:spcBef>
        <a:spcAft>
          <a:spcPts val="392"/>
        </a:spcAft>
        <a:buClr>
          <a:schemeClr val="accent2"/>
        </a:buClr>
        <a:buSzPct val="90000"/>
        <a:buFont typeface="Arial" pitchFamily="34" charset="0"/>
        <a:buChar char="−"/>
        <a:defRPr b="1" kern="1200">
          <a:solidFill>
            <a:schemeClr val="tx1"/>
          </a:solidFill>
          <a:latin typeface="+mn-lt"/>
          <a:ea typeface="+mn-ea"/>
          <a:cs typeface="+mn-cs"/>
        </a:defRPr>
      </a:lvl3pPr>
      <a:lvl4pPr marL="783932" indent="-161763" algn="l" defTabSz="894369" rtl="0" fontAlgn="base">
        <a:lnSpc>
          <a:spcPts val="2156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958138" indent="-174207" algn="l" defTabSz="894369" rtl="0" fontAlgn="base">
        <a:lnSpc>
          <a:spcPts val="1960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463686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630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574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517" indent="-223972" algn="l" defTabSz="89588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4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886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830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772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717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658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601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545" algn="l" defTabSz="8958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0250" y="1255715"/>
            <a:ext cx="7605713" cy="497721"/>
          </a:xfrm>
        </p:spPr>
        <p:txBody>
          <a:bodyPr/>
          <a:lstStyle/>
          <a:p>
            <a:pPr eaLnBrk="1" hangingPunct="1"/>
            <a:r>
              <a:rPr lang="en-CA" smtClean="0"/>
              <a:t>New Horizons in Outcome Monitoring </a:t>
            </a:r>
            <a:endParaRPr lang="en-US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5533" y="2752870"/>
            <a:ext cx="7605713" cy="923330"/>
          </a:xfrm>
        </p:spPr>
        <p:txBody>
          <a:bodyPr/>
          <a:lstStyle/>
          <a:p>
            <a:pPr marL="0" indent="0" eaLnBrk="1" hangingPunct="1"/>
            <a:r>
              <a:rPr lang="en-US" sz="2000" dirty="0"/>
              <a:t>Richard Caldwell</a:t>
            </a:r>
          </a:p>
          <a:p>
            <a:pPr marL="0" indent="0" eaLnBrk="1" hangingPunct="1"/>
            <a:r>
              <a:rPr lang="en-US" sz="2000" dirty="0"/>
              <a:t>Senior Program Officer </a:t>
            </a:r>
            <a:r>
              <a:rPr lang="en-US" sz="2000" dirty="0" smtClean="0"/>
              <a:t>– MLE</a:t>
            </a:r>
          </a:p>
          <a:p>
            <a:pPr marL="0" indent="0" eaLnBrk="1" hangingPunct="1"/>
            <a:r>
              <a:rPr lang="en-US" sz="2000" dirty="0" smtClean="0"/>
              <a:t>Global Development - Agriculture</a:t>
            </a:r>
            <a:endParaRPr lang="en-US" sz="2000" dirty="0"/>
          </a:p>
        </p:txBody>
      </p:sp>
      <p:sp>
        <p:nvSpPr>
          <p:cNvPr id="13316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30252" y="6088063"/>
            <a:ext cx="4332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/>
            <a:r>
              <a:rPr lang="en-US" sz="1400" b="0" dirty="0" smtClean="0">
                <a:solidFill>
                  <a:schemeClr val="tx1"/>
                </a:solidFill>
              </a:rPr>
              <a:t>June 12, </a:t>
            </a:r>
            <a:r>
              <a:rPr lang="en-US" sz="1400" b="0" dirty="0">
                <a:solidFill>
                  <a:schemeClr val="tx1"/>
                </a:solidFill>
              </a:rPr>
              <a:t>2012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281157"/>
            <a:ext cx="2091002" cy="357856"/>
          </a:xfrm>
        </p:spPr>
        <p:txBody>
          <a:bodyPr/>
          <a:lstStyle/>
          <a:p>
            <a:fld id="{506C4767-D3AA-444B-BF6C-2CD48C9C4E94}" type="datetime4">
              <a:rPr lang="en-US" smtClean="0"/>
              <a:pPr/>
              <a:t>June 11, 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6700854" y="6281157"/>
            <a:ext cx="2260584" cy="357856"/>
          </a:xfrm>
        </p:spPr>
        <p:txBody>
          <a:bodyPr/>
          <a:lstStyle/>
          <a:p>
            <a:r>
              <a:rPr lang="en-US" smtClean="0"/>
              <a:t>© 2010 Bill &amp; Melinda Gates Foundation       |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584936" y="6284269"/>
            <a:ext cx="376505" cy="357856"/>
          </a:xfrm>
        </p:spPr>
        <p:txBody>
          <a:bodyPr/>
          <a:lstStyle/>
          <a:p>
            <a:fld id="{01052961-14CD-45D2-98DF-50022118EB18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1026" name="Picture 2" descr="C:\Users\richardc\AppData\Local\Microsoft\Windows\Temporary Internet Files\Content.Outlook\HTZWH054\IMG_726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8961438" cy="6721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55093" y="561075"/>
            <a:ext cx="7970292" cy="1009487"/>
          </a:xfrm>
          <a:prstGeom prst="rect">
            <a:avLst/>
          </a:prstGeom>
          <a:noFill/>
        </p:spPr>
        <p:txBody>
          <a:bodyPr wrap="square" lIns="91420" tIns="45710" rIns="91420" bIns="4571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3200" dirty="0"/>
              <a:t>STRASA</a:t>
            </a:r>
          </a:p>
          <a:p>
            <a:pPr algn="l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2800" dirty="0"/>
              <a:t>Stress-tolerant Rice for Africa and South Asia</a:t>
            </a:r>
          </a:p>
        </p:txBody>
      </p:sp>
    </p:spTree>
    <p:extLst>
      <p:ext uri="{BB962C8B-B14F-4D97-AF65-F5344CB8AC3E}">
        <p14:creationId xmlns:p14="http://schemas.microsoft.com/office/powerpoint/2010/main" val="18371352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/>
              <a:t>STRAS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New varieties of rice for abiotic stresses</a:t>
            </a:r>
            <a:endParaRPr lang="en-US" sz="1800" baseline="30000" dirty="0"/>
          </a:p>
          <a:p>
            <a:pPr lvl="1">
              <a:spcAft>
                <a:spcPts val="600"/>
              </a:spcAft>
            </a:pPr>
            <a:r>
              <a:rPr lang="en-US" dirty="0" smtClean="0"/>
              <a:t>Salinity tolerance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dirty="0" smtClean="0"/>
              <a:t>Submergence tolerance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dirty="0" smtClean="0"/>
              <a:t>Drought tolerance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dirty="0" smtClean="0"/>
              <a:t>Combined tolerance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Implemented by IRRI in India, Bangladesh, Africa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Outcomes of interest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Uptake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Adoption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Farmer-to-farmer dissemination (informal)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Seed sales (formal)</a:t>
            </a:r>
          </a:p>
          <a:p>
            <a:pPr marL="223980" lvl="1" indent="0">
              <a:spcAft>
                <a:spcPts val="1200"/>
              </a:spcAft>
              <a:buNone/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584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281157"/>
            <a:ext cx="2091002" cy="357856"/>
          </a:xfrm>
        </p:spPr>
        <p:txBody>
          <a:bodyPr/>
          <a:lstStyle/>
          <a:p>
            <a:fld id="{506C4767-D3AA-444B-BF6C-2CD48C9C4E94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6700854" y="6281157"/>
            <a:ext cx="2260584" cy="357856"/>
          </a:xfrm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584935" y="6284269"/>
            <a:ext cx="376505" cy="357856"/>
          </a:xfrm>
        </p:spPr>
        <p:txBody>
          <a:bodyPr/>
          <a:lstStyle/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11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314233" y="573774"/>
            <a:ext cx="7870248" cy="971507"/>
            <a:chOff x="320634" y="585427"/>
            <a:chExt cx="8030580" cy="991240"/>
          </a:xfrm>
          <a:effectLst>
            <a:outerShdw blurRad="50800" dist="50800" dir="5400000" algn="ctr" rotWithShape="0">
              <a:schemeClr val="bg2">
                <a:lumMod val="75000"/>
              </a:schemeClr>
            </a:outerShdw>
          </a:effectLst>
        </p:grpSpPr>
        <p:sp>
          <p:nvSpPr>
            <p:cNvPr id="6" name="TextBox 5"/>
            <p:cNvSpPr txBox="1"/>
            <p:nvPr/>
          </p:nvSpPr>
          <p:spPr>
            <a:xfrm>
              <a:off x="320634" y="606320"/>
              <a:ext cx="2177390" cy="970347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BMGF $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Resistance gene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Mega varietie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082227" y="585427"/>
              <a:ext cx="2268987" cy="659459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Resistant varietie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Breeder seed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003652" y="606320"/>
              <a:ext cx="2334413" cy="970347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Breeding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Y</a:t>
              </a: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ield trial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Seed Multiplication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14233" y="1643474"/>
            <a:ext cx="7677887" cy="646331"/>
            <a:chOff x="320634" y="1676853"/>
            <a:chExt cx="7834300" cy="659459"/>
          </a:xfrm>
          <a:effectLst>
            <a:outerShdw blurRad="50800" dist="50800" dir="5400000" algn="ctr" rotWithShape="0">
              <a:schemeClr val="bg2">
                <a:lumMod val="75000"/>
              </a:schemeClr>
            </a:outerShdw>
          </a:effectLst>
        </p:grpSpPr>
        <p:sp>
          <p:nvSpPr>
            <p:cNvPr id="12" name="TextBox 11"/>
            <p:cNvSpPr txBox="1"/>
            <p:nvPr/>
          </p:nvSpPr>
          <p:spPr>
            <a:xfrm>
              <a:off x="320634" y="1676853"/>
              <a:ext cx="1536211" cy="659459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BMGF $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eed grants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082227" y="1676853"/>
              <a:ext cx="2072707" cy="348571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Foundation seed</a:t>
              </a:r>
              <a:endParaRPr lang="en-US" sz="1800" dirty="0">
                <a:solidFill>
                  <a:srgbClr val="59452A">
                    <a:lumMod val="75000"/>
                  </a:srgbClr>
                </a:solidFill>
                <a:latin typeface="Arial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003652" y="1676853"/>
              <a:ext cx="1837239" cy="659459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Training NAR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Advocacy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14234" y="2374686"/>
            <a:ext cx="7780543" cy="951030"/>
            <a:chOff x="320634" y="2422921"/>
            <a:chExt cx="7939048" cy="970348"/>
          </a:xfrm>
          <a:effectLst>
            <a:outerShdw blurRad="50800" dist="50800" dir="5400000" algn="ctr" rotWithShape="0">
              <a:schemeClr val="tx2">
                <a:lumMod val="50000"/>
              </a:schemeClr>
            </a:outerShdw>
          </a:effectLst>
        </p:grpSpPr>
        <p:sp>
          <p:nvSpPr>
            <p:cNvPr id="15" name="TextBox 14"/>
            <p:cNvSpPr txBox="1"/>
            <p:nvPr/>
          </p:nvSpPr>
          <p:spPr>
            <a:xfrm>
              <a:off x="320634" y="2422921"/>
              <a:ext cx="1078227" cy="659459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effectLst>
              <a:outerShdw blurRad="50800" dist="50800" dir="5400000" algn="ctr" rotWithShape="0">
                <a:schemeClr val="bg2">
                  <a:lumMod val="75000"/>
                </a:schemeClr>
              </a:outerShdw>
            </a:effectLst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BMGF $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Land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082227" y="2422921"/>
              <a:ext cx="2177455" cy="97034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  <a:effectLst>
              <a:outerShdw blurRad="50800" dist="50800" dir="5400000" algn="ctr" rotWithShape="0">
                <a:schemeClr val="bg2">
                  <a:lumMod val="75000"/>
                </a:schemeClr>
              </a:outerShdw>
            </a:effectLst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Demo field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Variety selection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Trained farmer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003652" y="2422921"/>
              <a:ext cx="1549296" cy="970348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Demo farm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Training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PVS</a:t>
              </a:r>
            </a:p>
          </p:txBody>
        </p:sp>
      </p:grpSp>
      <p:grpSp>
        <p:nvGrpSpPr>
          <p:cNvPr id="1024" name="Group 1023"/>
          <p:cNvGrpSpPr/>
          <p:nvPr/>
        </p:nvGrpSpPr>
        <p:grpSpPr>
          <a:xfrm>
            <a:off x="217083" y="3976452"/>
            <a:ext cx="5580635" cy="341632"/>
            <a:chOff x="221504" y="3974091"/>
            <a:chExt cx="5694324" cy="348571"/>
          </a:xfrm>
          <a:solidFill>
            <a:schemeClr val="accent5">
              <a:lumMod val="60000"/>
              <a:lumOff val="40000"/>
            </a:schemeClr>
          </a:solidFill>
          <a:effectLst>
            <a:outerShdw blurRad="50800" dist="50800" dir="5400000" algn="ctr" rotWithShape="0">
              <a:schemeClr val="bg2">
                <a:lumMod val="75000"/>
              </a:schemeClr>
            </a:outerShdw>
          </a:effectLst>
        </p:grpSpPr>
        <p:sp>
          <p:nvSpPr>
            <p:cNvPr id="18" name="TextBox 17"/>
            <p:cNvSpPr txBox="1"/>
            <p:nvPr/>
          </p:nvSpPr>
          <p:spPr>
            <a:xfrm>
              <a:off x="221504" y="3974091"/>
              <a:ext cx="2020366" cy="34857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Seed availability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581415" y="3974091"/>
              <a:ext cx="2334413" cy="348571"/>
            </a:xfrm>
            <a:prstGeom prst="rect">
              <a:avLst/>
            </a:prstGeom>
            <a:solidFill>
              <a:schemeClr val="tx1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40000"/>
                      <a:lumOff val="60000"/>
                    </a:srgbClr>
                  </a:solidFill>
                  <a:latin typeface="Arial"/>
                  <a:cs typeface="+mn-cs"/>
                </a:rPr>
                <a:t>Seed Multiplication</a:t>
              </a:r>
            </a:p>
          </p:txBody>
        </p:sp>
      </p:grpSp>
      <p:grpSp>
        <p:nvGrpSpPr>
          <p:cNvPr id="1025" name="Group 1024"/>
          <p:cNvGrpSpPr/>
          <p:nvPr/>
        </p:nvGrpSpPr>
        <p:grpSpPr>
          <a:xfrm>
            <a:off x="217082" y="4614548"/>
            <a:ext cx="8088896" cy="707886"/>
            <a:chOff x="221504" y="4808277"/>
            <a:chExt cx="8253683" cy="722264"/>
          </a:xfrm>
          <a:solidFill>
            <a:schemeClr val="accent5">
              <a:lumMod val="60000"/>
              <a:lumOff val="40000"/>
            </a:schemeClr>
          </a:solidFill>
          <a:effectLst>
            <a:outerShdw blurRad="50800" dist="50800" dir="5400000" algn="ctr" rotWithShape="0">
              <a:schemeClr val="bg2">
                <a:lumMod val="75000"/>
              </a:schemeClr>
            </a:outerShdw>
          </a:effectLst>
        </p:grpSpPr>
        <p:sp>
          <p:nvSpPr>
            <p:cNvPr id="21" name="TextBox 20"/>
            <p:cNvSpPr txBox="1"/>
            <p:nvPr/>
          </p:nvSpPr>
          <p:spPr>
            <a:xfrm>
              <a:off x="221504" y="4808277"/>
              <a:ext cx="2020366" cy="348571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18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eed availability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602061" y="4808277"/>
              <a:ext cx="1541119" cy="722264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eed </a:t>
              </a:r>
              <a:r>
                <a:rPr lang="en-US" sz="2000" dirty="0" smtClean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ale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 smtClean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caling</a:t>
              </a:r>
              <a:endParaRPr lang="en-US" sz="2000" dirty="0">
                <a:solidFill>
                  <a:srgbClr val="59452A">
                    <a:lumMod val="75000"/>
                  </a:srgbClr>
                </a:solidFill>
                <a:latin typeface="Arial"/>
                <a:cs typeface="+mn-cs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835733" y="4808277"/>
              <a:ext cx="1639454" cy="722264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Technology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75000"/>
                    </a:srgbClr>
                  </a:solidFill>
                  <a:latin typeface="Arial"/>
                  <a:cs typeface="+mn-cs"/>
                </a:rPr>
                <a:t>spread</a:t>
              </a:r>
            </a:p>
          </p:txBody>
        </p:sp>
      </p:grpSp>
      <p:grpSp>
        <p:nvGrpSpPr>
          <p:cNvPr id="1027" name="Group 1026"/>
          <p:cNvGrpSpPr/>
          <p:nvPr/>
        </p:nvGrpSpPr>
        <p:grpSpPr>
          <a:xfrm>
            <a:off x="217083" y="5578561"/>
            <a:ext cx="8762487" cy="1048561"/>
            <a:chOff x="221504" y="5608742"/>
            <a:chExt cx="8940996" cy="1069859"/>
          </a:xfrm>
          <a:solidFill>
            <a:schemeClr val="accent5">
              <a:lumMod val="60000"/>
              <a:lumOff val="40000"/>
            </a:schemeClr>
          </a:solidFill>
          <a:effectLst>
            <a:outerShdw blurRad="50800" dist="50800" dir="5400000" algn="ctr" rotWithShape="0">
              <a:schemeClr val="bg2">
                <a:lumMod val="75000"/>
              </a:schemeClr>
            </a:outerShdw>
          </a:effectLst>
        </p:grpSpPr>
        <p:sp>
          <p:nvSpPr>
            <p:cNvPr id="22" name="TextBox 21"/>
            <p:cNvSpPr txBox="1"/>
            <p:nvPr/>
          </p:nvSpPr>
          <p:spPr>
            <a:xfrm>
              <a:off x="221504" y="5610906"/>
              <a:ext cx="2702437" cy="106769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Dialogue/interaction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Knowledge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‘Built-In’ insurance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602061" y="5610906"/>
              <a:ext cx="2049808" cy="106769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Adoption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Exchange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Risk behaviors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082227" y="5608742"/>
              <a:ext cx="3080273" cy="1067695"/>
            </a:xfrm>
            <a:prstGeom prst="rect">
              <a:avLst/>
            </a:prstGeom>
            <a:solidFill>
              <a:schemeClr val="tx1">
                <a:lumMod val="40000"/>
                <a:lumOff val="60000"/>
              </a:schemeClr>
            </a:solidFill>
          </p:spPr>
          <p:txBody>
            <a:bodyPr wrap="non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Productivity gains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Income change</a:t>
              </a:r>
            </a:p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000" dirty="0">
                  <a:solidFill>
                    <a:srgbClr val="59452A">
                      <a:lumMod val="50000"/>
                    </a:srgbClr>
                  </a:solidFill>
                  <a:latin typeface="Arial"/>
                  <a:cs typeface="+mn-cs"/>
                </a:rPr>
                <a:t>Improved food security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14232" y="84862"/>
            <a:ext cx="8274783" cy="424732"/>
            <a:chOff x="320633" y="86585"/>
            <a:chExt cx="8443357" cy="433359"/>
          </a:xfrm>
        </p:grpSpPr>
        <p:sp>
          <p:nvSpPr>
            <p:cNvPr id="2" name="TextBox 1"/>
            <p:cNvSpPr txBox="1"/>
            <p:nvPr/>
          </p:nvSpPr>
          <p:spPr>
            <a:xfrm>
              <a:off x="320633" y="86585"/>
              <a:ext cx="8443357" cy="433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895981" fontAlgn="auto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</a:pPr>
              <a:r>
                <a:rPr lang="en-US" sz="2400" dirty="0">
                  <a:solidFill>
                    <a:srgbClr val="000000"/>
                  </a:solidFill>
                  <a:latin typeface="Arial"/>
                  <a:cs typeface="+mn-cs"/>
                </a:rPr>
                <a:t>Inputs                     Activities                    Outputs</a:t>
              </a:r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>
              <a:off x="1721922" y="298951"/>
              <a:ext cx="855023" cy="0"/>
            </a:xfrm>
            <a:prstGeom prst="straightConnector1">
              <a:avLst/>
            </a:prstGeom>
            <a:ln w="22225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4842144" y="298951"/>
              <a:ext cx="855023" cy="0"/>
            </a:xfrm>
            <a:prstGeom prst="straightConnector1">
              <a:avLst/>
            </a:prstGeom>
            <a:ln w="22225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/>
          <p:cNvGrpSpPr/>
          <p:nvPr/>
        </p:nvGrpSpPr>
        <p:grpSpPr>
          <a:xfrm>
            <a:off x="93107" y="3442502"/>
            <a:ext cx="8309510" cy="461665"/>
            <a:chOff x="95002" y="3512426"/>
            <a:chExt cx="8478791" cy="471043"/>
          </a:xfrm>
        </p:grpSpPr>
        <p:sp>
          <p:nvSpPr>
            <p:cNvPr id="7" name="Rectangle 6"/>
            <p:cNvSpPr/>
            <p:nvPr/>
          </p:nvSpPr>
          <p:spPr>
            <a:xfrm>
              <a:off x="95002" y="3512426"/>
              <a:ext cx="8478791" cy="4710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defTabSz="89598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solidFill>
                    <a:srgbClr val="000000"/>
                  </a:solidFill>
                  <a:latin typeface="Arial"/>
                  <a:cs typeface="+mn-cs"/>
                </a:rPr>
                <a:t>1</a:t>
              </a:r>
              <a:r>
                <a:rPr lang="en-US" sz="2400" baseline="30000" dirty="0">
                  <a:solidFill>
                    <a:srgbClr val="000000"/>
                  </a:solidFill>
                  <a:latin typeface="Arial"/>
                  <a:cs typeface="+mn-cs"/>
                </a:rPr>
                <a:t>st</a:t>
              </a:r>
              <a:r>
                <a:rPr lang="en-US" sz="2400" dirty="0">
                  <a:solidFill>
                    <a:srgbClr val="000000"/>
                  </a:solidFill>
                  <a:latin typeface="Arial"/>
                  <a:cs typeface="+mn-cs"/>
                </a:rPr>
                <a:t> Order Outcomes       2</a:t>
              </a:r>
              <a:r>
                <a:rPr lang="en-US" sz="2400" baseline="30000" dirty="0">
                  <a:solidFill>
                    <a:srgbClr val="000000"/>
                  </a:solidFill>
                  <a:latin typeface="Arial"/>
                  <a:cs typeface="+mn-cs"/>
                </a:rPr>
                <a:t>nd</a:t>
              </a:r>
              <a:r>
                <a:rPr lang="en-US" sz="2400" dirty="0">
                  <a:solidFill>
                    <a:srgbClr val="000000"/>
                  </a:solidFill>
                  <a:latin typeface="Arial"/>
                  <a:cs typeface="+mn-cs"/>
                </a:rPr>
                <a:t> Order Outcomes     Impact</a:t>
              </a:r>
            </a:p>
          </p:txBody>
        </p:sp>
        <p:cxnSp>
          <p:nvCxnSpPr>
            <p:cNvPr id="36" name="Straight Arrow Connector 35"/>
            <p:cNvCxnSpPr/>
            <p:nvPr/>
          </p:nvCxnSpPr>
          <p:spPr>
            <a:xfrm>
              <a:off x="3153903" y="3743258"/>
              <a:ext cx="427512" cy="0"/>
            </a:xfrm>
            <a:prstGeom prst="straightConnector1">
              <a:avLst/>
            </a:prstGeom>
            <a:ln w="22225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>
              <a:off x="6567054" y="3743258"/>
              <a:ext cx="332019" cy="0"/>
            </a:xfrm>
            <a:prstGeom prst="straightConnector1">
              <a:avLst/>
            </a:prstGeom>
            <a:ln w="22225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454787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/>
              <a:t>Elements of STRASA Outcome Monitor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Objective: Determine in near real time key outcomes in order to maximize dissemination of new varieties</a:t>
            </a:r>
            <a:endParaRPr lang="en-US" sz="1800" baseline="30000" dirty="0"/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Provide evidence base for outcomes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Determine when to conduct deep-dive surveys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Adjust dissemination strategies by sub-area</a:t>
            </a:r>
          </a:p>
          <a:p>
            <a:pPr lvl="2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Location of demonstration plots</a:t>
            </a:r>
          </a:p>
          <a:p>
            <a:pPr lvl="2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Allocation of mini-kit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Testing 4 sampling strategies for estimating outcomes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LQAS (normal)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LQAS (modified)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Population-based survey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Expert opinion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97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 smtClean="0"/>
              <a:t>Early Result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Adoption rates vary in areas of interest from negligible to over 25% (still early)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Farmer-to-farmer transmission as high as 72%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High proportion of those taking up are adopting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Female farmer uptake significantly lower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15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47675" y="1129529"/>
            <a:ext cx="2947988" cy="276999"/>
          </a:xfrm>
        </p:spPr>
        <p:txBody>
          <a:bodyPr/>
          <a:lstStyle/>
          <a:p>
            <a:r>
              <a:rPr lang="en-US" u="sng" dirty="0" smtClean="0"/>
              <a:t>LQAS Study</a:t>
            </a:r>
            <a:endParaRPr lang="en-US" u="sng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971499" y="614149"/>
            <a:ext cx="4542264" cy="538977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3496528" cy="4597400"/>
          </a:xfrm>
        </p:spPr>
        <p:txBody>
          <a:bodyPr/>
          <a:lstStyle/>
          <a:p>
            <a:r>
              <a:rPr lang="en-US" sz="1800" dirty="0" smtClean="0"/>
              <a:t>Objective: To test various methods of estimating adoption rates of improved varieties</a:t>
            </a:r>
          </a:p>
          <a:p>
            <a:r>
              <a:rPr lang="en-US" sz="1800" dirty="0"/>
              <a:t>1</a:t>
            </a:r>
            <a:r>
              <a:rPr lang="en-US" sz="1800" dirty="0" smtClean="0"/>
              <a:t>. LQAS (normal): Can LQAS be used in an iterative way to arrive at estimates of higher precision?</a:t>
            </a:r>
          </a:p>
          <a:p>
            <a:r>
              <a:rPr lang="en-US" sz="1800" dirty="0"/>
              <a:t>2</a:t>
            </a:r>
            <a:r>
              <a:rPr lang="en-US" sz="1800" dirty="0" smtClean="0"/>
              <a:t>. Can a modified LQAS reduce sample size while still providing useful estimates</a:t>
            </a:r>
          </a:p>
          <a:p>
            <a:r>
              <a:rPr lang="en-US" sz="1800" dirty="0" smtClean="0"/>
              <a:t>6. Can we predict when and where expert opinions have high precision?</a:t>
            </a:r>
          </a:p>
          <a:p>
            <a:endParaRPr lang="en-US" sz="1800" dirty="0" smtClean="0"/>
          </a:p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294967295"/>
          </p:nvPr>
        </p:nvSpPr>
        <p:spPr>
          <a:xfrm>
            <a:off x="0" y="6281738"/>
            <a:ext cx="2090738" cy="357187"/>
          </a:xfrm>
          <a:prstGeom prst="rect">
            <a:avLst/>
          </a:prstGeom>
        </p:spPr>
        <p:txBody>
          <a:bodyPr/>
          <a:lstStyle/>
          <a:p>
            <a:fld id="{E258D855-AF7B-49A9-A37F-F0984EE94521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Content Placeholder 3" descr="Supervision area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85147" y="545911"/>
            <a:ext cx="4703946" cy="550007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811046" y="628975"/>
            <a:ext cx="27364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Flood-prone Area</a:t>
            </a:r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827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 smtClean="0"/>
              <a:t>Challenges to Using Outcome Monitoring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7"/>
            <a:ext cx="7953211" cy="1860920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 smtClean="0"/>
              <a:t>Changing the mindset of staff (including M&amp;E staff)</a:t>
            </a:r>
          </a:p>
          <a:p>
            <a:pPr>
              <a:spcAft>
                <a:spcPts val="1800"/>
              </a:spcAft>
            </a:pPr>
            <a:r>
              <a:rPr lang="en-US" dirty="0" smtClean="0"/>
              <a:t>Identifying Supervision Areas or strata</a:t>
            </a:r>
          </a:p>
          <a:p>
            <a:pPr>
              <a:spcAft>
                <a:spcPts val="1800"/>
              </a:spcAft>
            </a:pPr>
            <a:r>
              <a:rPr lang="en-US" dirty="0" smtClean="0"/>
              <a:t>Random selection of households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Data management and ownership</a:t>
            </a:r>
          </a:p>
          <a:p>
            <a:pPr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Outcome Investing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Grantees paid a premium for achieving specific outcomes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Water and Sanitation currently has several investments</a:t>
            </a:r>
          </a:p>
          <a:p>
            <a:pPr lvl="1">
              <a:lnSpc>
                <a:spcPct val="100000"/>
              </a:lnSpc>
              <a:spcAft>
                <a:spcPts val="1800"/>
              </a:spcAft>
            </a:pPr>
            <a:r>
              <a:rPr lang="en-US" dirty="0" smtClean="0"/>
              <a:t>STRASA would be candidate if granted today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97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 smtClean="0"/>
              <a:t>Discussion Question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What are some of the tradeoffs you would expect in Outcome Investment? How receptive would your organization be to OI?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dirty="0" smtClean="0"/>
              <a:t> 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What would be examples of critical outcomes to monitor in a program aimed at improving household and community resilience?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082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2889" y="235738"/>
            <a:ext cx="4477135" cy="333747"/>
          </a:xfrm>
        </p:spPr>
        <p:txBody>
          <a:bodyPr/>
          <a:lstStyle/>
          <a:p>
            <a:r>
              <a:rPr lang="en-US" dirty="0" smtClean="0"/>
              <a:t>  Outcome Monitor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812" y="936870"/>
            <a:ext cx="8342211" cy="3607835"/>
          </a:xfrm>
        </p:spPr>
        <p:txBody>
          <a:bodyPr/>
          <a:lstStyle/>
          <a:p>
            <a:r>
              <a:rPr lang="en-US" dirty="0"/>
              <a:t>The basic tracking of variables that have been adopted as measures or “indicators” of desired program </a:t>
            </a:r>
            <a:r>
              <a:rPr lang="en-US" dirty="0" smtClean="0"/>
              <a:t>outcomes</a:t>
            </a:r>
            <a:r>
              <a:rPr lang="en-US" sz="1800" baseline="30000" dirty="0"/>
              <a:t>1</a:t>
            </a:r>
          </a:p>
          <a:p>
            <a:pPr lvl="1"/>
            <a:r>
              <a:rPr lang="en-US" dirty="0" smtClean="0"/>
              <a:t>Outcomes include behavioral changes and systems changes</a:t>
            </a:r>
          </a:p>
          <a:p>
            <a:pPr lvl="1"/>
            <a:r>
              <a:rPr lang="en-US" dirty="0" smtClean="0"/>
              <a:t>Positional outcomes can be tracked as well</a:t>
            </a:r>
          </a:p>
          <a:p>
            <a:pPr lvl="1"/>
            <a:r>
              <a:rPr lang="en-US" dirty="0" smtClean="0"/>
              <a:t>Typically monitored through population-based surveys</a:t>
            </a:r>
          </a:p>
          <a:p>
            <a:pPr lvl="1"/>
            <a:r>
              <a:rPr lang="en-US" dirty="0" smtClean="0"/>
              <a:t>Often tracked from ‘baseline’, ‘midterm’, and ‘</a:t>
            </a:r>
            <a:r>
              <a:rPr lang="en-US" dirty="0" err="1" smtClean="0"/>
              <a:t>endline</a:t>
            </a:r>
            <a:r>
              <a:rPr lang="en-US" dirty="0" smtClean="0"/>
              <a:t>’ events</a:t>
            </a:r>
          </a:p>
          <a:p>
            <a:pPr lvl="1"/>
            <a:r>
              <a:rPr lang="en-US" dirty="0" smtClean="0"/>
              <a:t>No causality is normally assumed</a:t>
            </a:r>
          </a:p>
          <a:p>
            <a:pPr marL="223980" lvl="1" indent="0">
              <a:buNone/>
            </a:pPr>
            <a:endParaRPr lang="en-US" dirty="0" smtClean="0"/>
          </a:p>
          <a:p>
            <a:pPr marL="223980" lvl="1" indent="0">
              <a:buNone/>
            </a:pPr>
            <a:r>
              <a:rPr lang="en-US" dirty="0" smtClean="0"/>
              <a:t>As used, routine monitoring often does not contribute to real-time learning, and as such may not add much value to program-level MLE. We are planning to make outcome monitoring a standard M&amp;E method for a set of our investments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4" y="6281157"/>
            <a:ext cx="4219462" cy="357856"/>
          </a:xfrm>
        </p:spPr>
        <p:txBody>
          <a:bodyPr/>
          <a:lstStyle/>
          <a:p>
            <a:pPr>
              <a:defRPr/>
            </a:pPr>
            <a:r>
              <a:rPr lang="en-US" sz="900" dirty="0">
                <a:solidFill>
                  <a:schemeClr val="tx1"/>
                </a:solidFill>
              </a:rPr>
              <a:t>1. Source: </a:t>
            </a:r>
            <a:r>
              <a:rPr lang="en-US" sz="900" i="1" dirty="0">
                <a:solidFill>
                  <a:schemeClr val="tx1"/>
                </a:solidFill>
              </a:rPr>
              <a:t>United Nations Population Fund (UNFPA). (2001).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un 5"/>
          <p:cNvSpPr/>
          <p:nvPr/>
        </p:nvSpPr>
        <p:spPr bwMode="auto">
          <a:xfrm>
            <a:off x="329806" y="191072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4028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302377" y="6378575"/>
            <a:ext cx="2076450" cy="122238"/>
          </a:xfrm>
        </p:spPr>
        <p:txBody>
          <a:bodyPr/>
          <a:lstStyle/>
          <a:p>
            <a:pPr>
              <a:defRPr/>
            </a:pPr>
            <a:fld id="{05E7F381-8C27-458C-AA79-2740139C85A8}" type="slidenum">
              <a:rPr lang="en-US" sz="800"/>
              <a:pPr>
                <a:defRPr/>
              </a:pPr>
              <a:t>2</a:t>
            </a:fld>
            <a:r>
              <a:rPr lang="en-US" sz="800"/>
              <a:t> </a:t>
            </a:r>
          </a:p>
        </p:txBody>
      </p:sp>
      <p:sp>
        <p:nvSpPr>
          <p:cNvPr id="14339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892486" y="217786"/>
            <a:ext cx="4423012" cy="332399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080808"/>
                </a:solidFill>
              </a:rPr>
              <a:t>Objectives for Today</a:t>
            </a:r>
            <a:endParaRPr lang="en-US" dirty="0" smtClean="0">
              <a:solidFill>
                <a:srgbClr val="080808"/>
              </a:solidFill>
            </a:endParaRPr>
          </a:p>
        </p:txBody>
      </p:sp>
      <p:sp>
        <p:nvSpPr>
          <p:cNvPr id="14340" name="TextBox 7"/>
          <p:cNvSpPr txBox="1">
            <a:spLocks noChangeArrowheads="1"/>
          </p:cNvSpPr>
          <p:nvPr/>
        </p:nvSpPr>
        <p:spPr bwMode="auto">
          <a:xfrm>
            <a:off x="701415" y="908551"/>
            <a:ext cx="6926262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lnSpc>
                <a:spcPct val="114000"/>
              </a:lnSpc>
              <a:buClr>
                <a:srgbClr val="CE6B28"/>
              </a:buClr>
            </a:pPr>
            <a:r>
              <a:rPr lang="en-US" sz="1800" dirty="0">
                <a:solidFill>
                  <a:srgbClr val="080808"/>
                </a:solidFill>
              </a:rPr>
              <a:t>Providing new insight into Outcome </a:t>
            </a:r>
            <a:r>
              <a:rPr lang="en-US" sz="1800" dirty="0" smtClean="0">
                <a:solidFill>
                  <a:srgbClr val="080808"/>
                </a:solidFill>
              </a:rPr>
              <a:t>Monitoring </a:t>
            </a:r>
            <a:r>
              <a:rPr lang="en-US" sz="1800" dirty="0">
                <a:solidFill>
                  <a:srgbClr val="080808"/>
                </a:solidFill>
              </a:rPr>
              <a:t>…</a:t>
            </a:r>
          </a:p>
        </p:txBody>
      </p:sp>
      <p:sp>
        <p:nvSpPr>
          <p:cNvPr id="3277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5757" y="1584420"/>
            <a:ext cx="7945437" cy="3254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4414" lvl="1" indent="-342828" algn="l" defTabSz="893573">
              <a:spcBef>
                <a:spcPct val="50000"/>
              </a:spcBef>
              <a:buClr>
                <a:schemeClr val="hlink"/>
              </a:buClr>
              <a:buFont typeface="+mj-lt"/>
              <a:buAutoNum type="arabicPeriod"/>
              <a:defRPr/>
            </a:pPr>
            <a:r>
              <a:rPr lang="en-US" sz="1800" b="0" dirty="0">
                <a:solidFill>
                  <a:srgbClr val="59452A"/>
                </a:solidFill>
              </a:rPr>
              <a:t>Overview of BMGF Agriculture Approach to MLE</a:t>
            </a:r>
            <a:endParaRPr lang="en-US" sz="1800" b="0" dirty="0">
              <a:solidFill>
                <a:srgbClr val="59452A"/>
              </a:solidFill>
            </a:endParaRPr>
          </a:p>
          <a:p>
            <a:pPr marL="995153" lvl="3" indent="-342828" algn="l" defTabSz="893573">
              <a:spcBef>
                <a:spcPct val="25000"/>
              </a:spcBef>
              <a:buClr>
                <a:schemeClr val="hlink"/>
              </a:buClr>
              <a:buFont typeface="Arial" pitchFamily="34" charset="0"/>
              <a:buChar char="•"/>
              <a:defRPr/>
            </a:pPr>
            <a:r>
              <a:rPr lang="en-US" sz="1800" b="0" dirty="0">
                <a:solidFill>
                  <a:srgbClr val="59452A"/>
                </a:solidFill>
              </a:rPr>
              <a:t>Gathering momentum for a major shift</a:t>
            </a:r>
            <a:endParaRPr lang="en-US" sz="1800" b="0" dirty="0">
              <a:solidFill>
                <a:srgbClr val="59452A"/>
              </a:solidFill>
            </a:endParaRPr>
          </a:p>
          <a:p>
            <a:pPr marL="344414" lvl="1" indent="-342828" algn="l" defTabSz="893573">
              <a:spcBef>
                <a:spcPct val="50000"/>
              </a:spcBef>
              <a:buClr>
                <a:schemeClr val="hlink"/>
              </a:buClr>
              <a:buFont typeface="+mj-lt"/>
              <a:buAutoNum type="arabicPeriod"/>
              <a:defRPr/>
            </a:pPr>
            <a:r>
              <a:rPr lang="en-US" sz="1800" b="0" dirty="0">
                <a:solidFill>
                  <a:srgbClr val="59452A"/>
                </a:solidFill>
              </a:rPr>
              <a:t>MLE Grant Typology as a Means to an End</a:t>
            </a:r>
            <a:endParaRPr lang="en-US" sz="1800" b="0" dirty="0">
              <a:solidFill>
                <a:srgbClr val="59452A"/>
              </a:solidFill>
            </a:endParaRPr>
          </a:p>
          <a:p>
            <a:pPr marL="995153" lvl="3" indent="-342828" algn="l" defTabSz="893573">
              <a:spcBef>
                <a:spcPct val="25000"/>
              </a:spcBef>
              <a:buClr>
                <a:schemeClr val="hlink"/>
              </a:buClr>
              <a:buFont typeface="Arial" pitchFamily="34" charset="0"/>
              <a:buChar char="•"/>
              <a:defRPr/>
            </a:pPr>
            <a:r>
              <a:rPr lang="en-US" sz="1800" b="0" dirty="0">
                <a:solidFill>
                  <a:srgbClr val="59452A"/>
                </a:solidFill>
              </a:rPr>
              <a:t>Solving for complexity</a:t>
            </a:r>
            <a:endParaRPr lang="en-US" sz="1800" b="0" dirty="0">
              <a:solidFill>
                <a:srgbClr val="59452A"/>
              </a:solidFill>
            </a:endParaRPr>
          </a:p>
          <a:p>
            <a:pPr marL="344414" lvl="1" indent="-342828" algn="l" defTabSz="893573">
              <a:spcBef>
                <a:spcPct val="50000"/>
              </a:spcBef>
              <a:buClr>
                <a:schemeClr val="hlink"/>
              </a:buClr>
              <a:buFont typeface="+mj-lt"/>
              <a:buAutoNum type="arabicPeriod"/>
              <a:defRPr/>
            </a:pPr>
            <a:r>
              <a:rPr lang="en-US" sz="1800" b="0" dirty="0">
                <a:solidFill>
                  <a:srgbClr val="59452A"/>
                </a:solidFill>
              </a:rPr>
              <a:t>Measuring Success</a:t>
            </a:r>
            <a:endParaRPr lang="en-US" sz="1800" b="0" dirty="0">
              <a:solidFill>
                <a:srgbClr val="59452A"/>
              </a:solidFill>
            </a:endParaRPr>
          </a:p>
          <a:p>
            <a:pPr marL="995153" lvl="3" indent="-342828" algn="l" defTabSz="893573">
              <a:spcBef>
                <a:spcPct val="25000"/>
              </a:spcBef>
              <a:buClr>
                <a:schemeClr val="hlink"/>
              </a:buClr>
              <a:buFont typeface="Arial" pitchFamily="34" charset="0"/>
              <a:buChar char="•"/>
              <a:defRPr/>
            </a:pPr>
            <a:r>
              <a:rPr lang="en-US" sz="1800" b="0" dirty="0">
                <a:solidFill>
                  <a:srgbClr val="59452A"/>
                </a:solidFill>
              </a:rPr>
              <a:t>Streamlined outcome measurement </a:t>
            </a:r>
            <a:endParaRPr lang="en-US" sz="1800" b="0" dirty="0">
              <a:solidFill>
                <a:srgbClr val="59452A"/>
              </a:solidFill>
            </a:endParaRPr>
          </a:p>
          <a:p>
            <a:pPr marL="344414" lvl="1" indent="-342828" algn="l" defTabSz="893573">
              <a:spcBef>
                <a:spcPct val="50000"/>
              </a:spcBef>
              <a:buClr>
                <a:schemeClr val="hlink"/>
              </a:buClr>
              <a:buFont typeface="+mj-lt"/>
              <a:buAutoNum type="arabicPeriod"/>
              <a:defRPr/>
            </a:pPr>
            <a:r>
              <a:rPr lang="en-US" sz="1800" b="0" dirty="0">
                <a:solidFill>
                  <a:srgbClr val="59452A"/>
                </a:solidFill>
              </a:rPr>
              <a:t>OM </a:t>
            </a:r>
            <a:r>
              <a:rPr lang="en-US" sz="1800" b="0" dirty="0" smtClean="0">
                <a:solidFill>
                  <a:srgbClr val="59452A"/>
                </a:solidFill>
              </a:rPr>
              <a:t>Horizons Case Study - STRASA</a:t>
            </a:r>
            <a:endParaRPr lang="en-US" sz="1800" b="0" dirty="0">
              <a:solidFill>
                <a:srgbClr val="59452A"/>
              </a:solidFill>
            </a:endParaRPr>
          </a:p>
          <a:p>
            <a:pPr marL="938015" lvl="3" indent="-285690" algn="l" defTabSz="893573">
              <a:spcBef>
                <a:spcPct val="25000"/>
              </a:spcBef>
              <a:buClr>
                <a:schemeClr val="hlink"/>
              </a:buClr>
              <a:buFont typeface="Arial" pitchFamily="34" charset="0"/>
              <a:buChar char="•"/>
              <a:defRPr/>
            </a:pPr>
            <a:r>
              <a:rPr lang="en-US" sz="1800" b="0" dirty="0">
                <a:solidFill>
                  <a:srgbClr val="59452A"/>
                </a:solidFill>
              </a:rPr>
              <a:t>Cost-effective sampling</a:t>
            </a:r>
          </a:p>
          <a:p>
            <a:pPr marL="938015" lvl="3" indent="-285690" algn="l" defTabSz="893573">
              <a:spcBef>
                <a:spcPct val="25000"/>
              </a:spcBef>
              <a:buClr>
                <a:schemeClr val="hlink"/>
              </a:buClr>
              <a:buFont typeface="Arial" pitchFamily="34" charset="0"/>
              <a:buChar char="•"/>
              <a:defRPr/>
            </a:pPr>
            <a:r>
              <a:rPr lang="en-US" sz="1800" b="0" dirty="0">
                <a:solidFill>
                  <a:srgbClr val="59452A"/>
                </a:solidFill>
              </a:rPr>
              <a:t>Use of information </a:t>
            </a:r>
            <a:r>
              <a:rPr lang="en-US" sz="1800" b="0" dirty="0" smtClean="0">
                <a:solidFill>
                  <a:srgbClr val="59452A"/>
                </a:solidFill>
              </a:rPr>
              <a:t>technology</a:t>
            </a:r>
            <a:endParaRPr lang="en-US" sz="1800" b="0" dirty="0">
              <a:solidFill>
                <a:srgbClr val="59452A"/>
              </a:solidFill>
            </a:endParaRPr>
          </a:p>
        </p:txBody>
      </p:sp>
      <p:sp>
        <p:nvSpPr>
          <p:cNvPr id="6" name="Sun 5"/>
          <p:cNvSpPr/>
          <p:nvPr/>
        </p:nvSpPr>
        <p:spPr bwMode="auto">
          <a:xfrm>
            <a:off x="329806" y="191072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2984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094" y="227390"/>
            <a:ext cx="5923129" cy="332399"/>
          </a:xfrm>
        </p:spPr>
        <p:txBody>
          <a:bodyPr/>
          <a:lstStyle/>
          <a:p>
            <a:r>
              <a:rPr lang="en-US" dirty="0" smtClean="0"/>
              <a:t>  Bill and </a:t>
            </a:r>
            <a:r>
              <a:rPr lang="en-US" dirty="0"/>
              <a:t>M</a:t>
            </a:r>
            <a:r>
              <a:rPr lang="en-US" dirty="0" smtClean="0"/>
              <a:t>elinda Gates Found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094" y="909576"/>
            <a:ext cx="8342211" cy="3607835"/>
          </a:xfrm>
        </p:spPr>
        <p:txBody>
          <a:bodyPr/>
          <a:lstStyle/>
          <a:p>
            <a:r>
              <a:rPr lang="en-US" dirty="0" smtClean="0"/>
              <a:t>Three Major Programs</a:t>
            </a:r>
            <a:endParaRPr lang="en-US" sz="1800" baseline="30000" dirty="0"/>
          </a:p>
          <a:p>
            <a:pPr lvl="1"/>
            <a:r>
              <a:rPr lang="en-US" dirty="0" smtClean="0"/>
              <a:t>Global Health – </a:t>
            </a:r>
            <a:r>
              <a:rPr lang="en-US" dirty="0"/>
              <a:t>P</a:t>
            </a:r>
            <a:r>
              <a:rPr lang="en-US" dirty="0" smtClean="0"/>
              <a:t>olio, Malaria, Emerging Diseases</a:t>
            </a:r>
          </a:p>
          <a:p>
            <a:pPr lvl="1"/>
            <a:r>
              <a:rPr lang="en-US" dirty="0" smtClean="0"/>
              <a:t>Global Development – Agriculture, Family </a:t>
            </a:r>
            <a:r>
              <a:rPr lang="en-US" dirty="0"/>
              <a:t>P</a:t>
            </a:r>
            <a:r>
              <a:rPr lang="en-US" dirty="0" smtClean="0"/>
              <a:t>lanning, </a:t>
            </a:r>
            <a:r>
              <a:rPr lang="en-US" dirty="0" err="1" smtClean="0"/>
              <a:t>WatSan</a:t>
            </a:r>
            <a:r>
              <a:rPr lang="en-US" dirty="0" smtClean="0"/>
              <a:t>, Financial Services</a:t>
            </a:r>
          </a:p>
          <a:p>
            <a:pPr lvl="1"/>
            <a:r>
              <a:rPr lang="en-US" dirty="0" smtClean="0"/>
              <a:t>US Education – College Ready, US Libraries, Post-2ndary Succes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Agriculture is the largest strategy within Global Development</a:t>
            </a:r>
          </a:p>
          <a:p>
            <a:pPr lvl="1"/>
            <a:r>
              <a:rPr lang="en-US" dirty="0" smtClean="0"/>
              <a:t>$520M/</a:t>
            </a:r>
            <a:r>
              <a:rPr lang="en-US" dirty="0" err="1" smtClean="0"/>
              <a:t>yr</a:t>
            </a:r>
            <a:r>
              <a:rPr lang="en-US" dirty="0" smtClean="0"/>
              <a:t> payout</a:t>
            </a:r>
          </a:p>
          <a:p>
            <a:pPr lvl="1"/>
            <a:r>
              <a:rPr lang="en-US" dirty="0" smtClean="0"/>
              <a:t>214 active grants</a:t>
            </a:r>
          </a:p>
          <a:p>
            <a:pPr lvl="1"/>
            <a:r>
              <a:rPr lang="en-US" dirty="0" smtClean="0"/>
              <a:t>70-80 new grants 2012</a:t>
            </a:r>
          </a:p>
          <a:p>
            <a:pPr marL="223982" lvl="1" indent="0">
              <a:buNone/>
            </a:pPr>
            <a:endParaRPr lang="en-US" dirty="0" smtClean="0"/>
          </a:p>
          <a:p>
            <a:r>
              <a:rPr lang="en-US" dirty="0"/>
              <a:t>Bill Gates has become an agriculture fanatic!</a:t>
            </a:r>
          </a:p>
          <a:p>
            <a:endParaRPr lang="en-US" dirty="0" smtClean="0"/>
          </a:p>
          <a:p>
            <a:pPr lvl="1"/>
            <a:endParaRPr lang="en-US" dirty="0" smtClean="0"/>
          </a:p>
          <a:p>
            <a:pPr marL="223980" lvl="1" indent="0">
              <a:buNone/>
            </a:pPr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un 5"/>
          <p:cNvSpPr/>
          <p:nvPr/>
        </p:nvSpPr>
        <p:spPr bwMode="auto">
          <a:xfrm>
            <a:off x="329806" y="204720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42501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278623" y="189030"/>
            <a:ext cx="7057132" cy="367486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4275"/>
            <a:r>
              <a:rPr lang="en-US" sz="1800" dirty="0">
                <a:solidFill>
                  <a:srgbClr val="C00000"/>
                </a:solidFill>
              </a:rPr>
              <a:t>Key Elements and Expected Results of the Agriculture Strategy </a:t>
            </a:r>
            <a:endParaRPr lang="en-US" sz="1800" dirty="0">
              <a:solidFill>
                <a:srgbClr val="C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49357" y="224052"/>
            <a:ext cx="8289330" cy="6273377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03669" y="145971"/>
            <a:ext cx="8289330" cy="448098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630076" y="2983450"/>
            <a:ext cx="4103982" cy="952810"/>
          </a:xfrm>
          <a:prstGeom prst="roundRect">
            <a:avLst/>
          </a:prstGeom>
          <a:solidFill>
            <a:srgbClr val="B5444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More effective global and national agriculture support  system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Improved HR capacities to respond to development challenge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Improved policies to support SHF productivity growth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Stronger partnerships and collaboration in the </a:t>
            </a:r>
            <a:r>
              <a:rPr lang="en-US" sz="1000" b="0" dirty="0" err="1">
                <a:solidFill>
                  <a:srgbClr val="CCFFCC"/>
                </a:solidFill>
              </a:rPr>
              <a:t>agr</a:t>
            </a:r>
            <a:r>
              <a:rPr lang="en-US" sz="1000" b="0" dirty="0">
                <a:solidFill>
                  <a:srgbClr val="CCFFCC"/>
                </a:solidFill>
              </a:rPr>
              <a:t> sector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630076" y="1728459"/>
            <a:ext cx="4103982" cy="952810"/>
          </a:xfrm>
          <a:prstGeom prst="roundRect">
            <a:avLst/>
          </a:prstGeom>
          <a:solidFill>
            <a:srgbClr val="B5444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Improved products and technologies on global/national scale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Products that respond to SHF productivity need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Products that can be delivered at scale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000" b="0" dirty="0">
                <a:solidFill>
                  <a:srgbClr val="CCFFCC"/>
                </a:solidFill>
              </a:rPr>
              <a:t>SHFs are satisfied with availability, quality and performanc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5766019" y="815377"/>
            <a:ext cx="1832105" cy="858801"/>
            <a:chOff x="3075709" y="932835"/>
            <a:chExt cx="2209800" cy="627241"/>
          </a:xfrm>
        </p:grpSpPr>
        <p:sp>
          <p:nvSpPr>
            <p:cNvPr id="24" name="Flowchart: Merge 23"/>
            <p:cNvSpPr/>
            <p:nvPr/>
          </p:nvSpPr>
          <p:spPr>
            <a:xfrm>
              <a:off x="3075709" y="950476"/>
              <a:ext cx="2209800" cy="609600"/>
            </a:xfrm>
            <a:prstGeom prst="flowChartMerg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4275"/>
              <a:endParaRPr lang="en-US" sz="1800" b="0">
                <a:solidFill>
                  <a:srgbClr val="FFFFFF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482923" y="932835"/>
              <a:ext cx="1320947" cy="4271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4275"/>
              <a:r>
                <a:rPr lang="en-US" sz="1600" dirty="0">
                  <a:solidFill>
                    <a:srgbClr val="FFFFFF"/>
                  </a:solidFill>
                </a:rPr>
                <a:t>Expected</a:t>
              </a:r>
            </a:p>
            <a:p>
              <a:pPr defTabSz="894275"/>
              <a:r>
                <a:rPr lang="en-US" sz="1600" dirty="0">
                  <a:solidFill>
                    <a:srgbClr val="FFFFFF"/>
                  </a:solidFill>
                </a:rPr>
                <a:t>Results</a:t>
              </a:r>
            </a:p>
          </p:txBody>
        </p:sp>
      </p:grpSp>
      <p:sp>
        <p:nvSpPr>
          <p:cNvPr id="29" name="Rounded Rectangle 28"/>
          <p:cNvSpPr/>
          <p:nvPr/>
        </p:nvSpPr>
        <p:spPr>
          <a:xfrm>
            <a:off x="4630076" y="4223389"/>
            <a:ext cx="4103982" cy="952810"/>
          </a:xfrm>
          <a:prstGeom prst="roundRect">
            <a:avLst/>
          </a:prstGeom>
          <a:solidFill>
            <a:srgbClr val="B5444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marL="172634" indent="-172634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Models of successful solutions are documented and demonstrated</a:t>
            </a:r>
          </a:p>
          <a:p>
            <a:pPr marL="172634" indent="-172634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Evidence of scalability is provided</a:t>
            </a:r>
          </a:p>
          <a:p>
            <a:pPr marL="172634" indent="-172634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Successful models are adopted by others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4630076" y="5472633"/>
            <a:ext cx="4103982" cy="952810"/>
          </a:xfrm>
          <a:prstGeom prst="roundRect">
            <a:avLst/>
          </a:prstGeom>
          <a:solidFill>
            <a:srgbClr val="B54441"/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Farm-level adoption of products and practice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Improved storage and marketing practices of SHF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Increases in SHF productivity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Improved well-being of SHFs</a:t>
            </a:r>
          </a:p>
          <a:p>
            <a:pPr marL="167967" indent="-167967" algn="l" defTabSz="894275">
              <a:buFont typeface="Arial" pitchFamily="34" charset="0"/>
              <a:buChar char="•"/>
            </a:pPr>
            <a:r>
              <a:rPr lang="en-US" sz="1100" b="0" dirty="0">
                <a:solidFill>
                  <a:srgbClr val="CCFFCC"/>
                </a:solidFill>
              </a:rPr>
              <a:t>Evidence on the sustainability of solutions </a:t>
            </a:r>
          </a:p>
        </p:txBody>
      </p:sp>
      <p:sp>
        <p:nvSpPr>
          <p:cNvPr id="7" name="Pentagon 6"/>
          <p:cNvSpPr/>
          <p:nvPr/>
        </p:nvSpPr>
        <p:spPr>
          <a:xfrm>
            <a:off x="3916320" y="2044518"/>
            <a:ext cx="489724" cy="177512"/>
          </a:xfrm>
          <a:prstGeom prst="homePlat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51" name="Pentagon 50"/>
          <p:cNvSpPr/>
          <p:nvPr/>
        </p:nvSpPr>
        <p:spPr>
          <a:xfrm>
            <a:off x="3916320" y="3299509"/>
            <a:ext cx="489724" cy="177512"/>
          </a:xfrm>
          <a:prstGeom prst="homePlat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52" name="Pentagon 51"/>
          <p:cNvSpPr/>
          <p:nvPr/>
        </p:nvSpPr>
        <p:spPr>
          <a:xfrm>
            <a:off x="3916320" y="5788689"/>
            <a:ext cx="489724" cy="177512"/>
          </a:xfrm>
          <a:prstGeom prst="homePlat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53" name="Pentagon 52"/>
          <p:cNvSpPr/>
          <p:nvPr/>
        </p:nvSpPr>
        <p:spPr>
          <a:xfrm>
            <a:off x="3916320" y="4539445"/>
            <a:ext cx="489724" cy="177512"/>
          </a:xfrm>
          <a:prstGeom prst="homePlat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298715" y="794393"/>
            <a:ext cx="3508474" cy="5703032"/>
          </a:xfrm>
          <a:prstGeom prst="roundRect">
            <a:avLst/>
          </a:prstGeom>
          <a:solidFill>
            <a:schemeClr val="accent1">
              <a:alpha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4275"/>
            <a:endParaRPr lang="en-US" sz="1800" b="0" dirty="0">
              <a:solidFill>
                <a:srgbClr val="FFFFFF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408132" y="844449"/>
            <a:ext cx="1789941" cy="858801"/>
            <a:chOff x="3075709" y="932835"/>
            <a:chExt cx="2209800" cy="627241"/>
          </a:xfrm>
        </p:grpSpPr>
        <p:sp>
          <p:nvSpPr>
            <p:cNvPr id="38" name="Flowchart: Merge 37"/>
            <p:cNvSpPr/>
            <p:nvPr/>
          </p:nvSpPr>
          <p:spPr>
            <a:xfrm>
              <a:off x="3075709" y="950476"/>
              <a:ext cx="2209800" cy="609600"/>
            </a:xfrm>
            <a:prstGeom prst="flowChartMerg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4275"/>
              <a:endParaRPr lang="en-US" sz="1800" b="0">
                <a:solidFill>
                  <a:srgbClr val="FFFFFF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53395" y="932835"/>
              <a:ext cx="1780003" cy="42710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94275"/>
              <a:r>
                <a:rPr lang="en-US" sz="1600" dirty="0">
                  <a:solidFill>
                    <a:srgbClr val="FFFFFF"/>
                  </a:solidFill>
                </a:rPr>
                <a:t>What  </a:t>
              </a:r>
              <a:r>
                <a:rPr lang="en-US" sz="1600" dirty="0" err="1">
                  <a:solidFill>
                    <a:srgbClr val="FFFFFF"/>
                  </a:solidFill>
                </a:rPr>
                <a:t>AgDev</a:t>
              </a:r>
              <a:endParaRPr lang="en-US" sz="1600" dirty="0">
                <a:solidFill>
                  <a:srgbClr val="FFFFFF"/>
                </a:solidFill>
              </a:endParaRPr>
            </a:p>
            <a:p>
              <a:pPr defTabSz="894275"/>
              <a:r>
                <a:rPr lang="en-US" sz="1600" dirty="0">
                  <a:solidFill>
                    <a:srgbClr val="FFFFFF"/>
                  </a:solidFill>
                </a:rPr>
                <a:t>Does</a:t>
              </a:r>
            </a:p>
          </p:txBody>
        </p:sp>
      </p:grpSp>
      <p:sp>
        <p:nvSpPr>
          <p:cNvPr id="31" name="Snip Diagonal Corner Rectangle 30"/>
          <p:cNvSpPr/>
          <p:nvPr/>
        </p:nvSpPr>
        <p:spPr>
          <a:xfrm>
            <a:off x="1063378" y="1728462"/>
            <a:ext cx="2479449" cy="809631"/>
          </a:xfrm>
          <a:prstGeom prst="snip2DiagRect">
            <a:avLst/>
          </a:prstGeom>
          <a:solidFill>
            <a:schemeClr val="accent3">
              <a:lumMod val="40000"/>
              <a:lumOff val="60000"/>
              <a:alpha val="8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609660">
              <a:lnSpc>
                <a:spcPct val="90000"/>
              </a:lnSpc>
              <a:spcAft>
                <a:spcPct val="35000"/>
              </a:spcAft>
            </a:pPr>
            <a:r>
              <a:rPr lang="en-US" sz="1400" dirty="0">
                <a:solidFill>
                  <a:srgbClr val="B6985E">
                    <a:lumMod val="25000"/>
                  </a:srgbClr>
                </a:solidFill>
              </a:rPr>
              <a:t>Invests in Transformational Products and Technologies</a:t>
            </a:r>
          </a:p>
        </p:txBody>
      </p:sp>
      <p:sp>
        <p:nvSpPr>
          <p:cNvPr id="34" name="Snip Diagonal Corner Rectangle 33"/>
          <p:cNvSpPr/>
          <p:nvPr/>
        </p:nvSpPr>
        <p:spPr>
          <a:xfrm>
            <a:off x="1063378" y="2983453"/>
            <a:ext cx="2479449" cy="809631"/>
          </a:xfrm>
          <a:prstGeom prst="snip2DiagRect">
            <a:avLst/>
          </a:prstGeom>
          <a:solidFill>
            <a:schemeClr val="accent3">
              <a:lumMod val="40000"/>
              <a:lumOff val="60000"/>
              <a:alpha val="8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609660">
              <a:lnSpc>
                <a:spcPct val="90000"/>
              </a:lnSpc>
              <a:spcAft>
                <a:spcPct val="35000"/>
              </a:spcAft>
            </a:pPr>
            <a:r>
              <a:rPr lang="en-US" sz="1400" dirty="0">
                <a:solidFill>
                  <a:srgbClr val="B6985E">
                    <a:lumMod val="25000"/>
                  </a:srgbClr>
                </a:solidFill>
              </a:rPr>
              <a:t>Influences the Way Systems Function</a:t>
            </a:r>
          </a:p>
        </p:txBody>
      </p:sp>
      <p:sp>
        <p:nvSpPr>
          <p:cNvPr id="35" name="Snip Diagonal Corner Rectangle 34"/>
          <p:cNvSpPr/>
          <p:nvPr/>
        </p:nvSpPr>
        <p:spPr>
          <a:xfrm>
            <a:off x="1063378" y="4223389"/>
            <a:ext cx="2479449" cy="809631"/>
          </a:xfrm>
          <a:prstGeom prst="snip2DiagRect">
            <a:avLst/>
          </a:prstGeom>
          <a:solidFill>
            <a:schemeClr val="accent3">
              <a:lumMod val="40000"/>
              <a:lumOff val="60000"/>
              <a:alpha val="8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609660">
              <a:lnSpc>
                <a:spcPct val="90000"/>
              </a:lnSpc>
              <a:spcAft>
                <a:spcPct val="35000"/>
              </a:spcAft>
            </a:pPr>
            <a:r>
              <a:rPr lang="en-US" sz="1400" dirty="0">
                <a:solidFill>
                  <a:srgbClr val="B6985E">
                    <a:lumMod val="25000"/>
                  </a:srgbClr>
                </a:solidFill>
              </a:rPr>
              <a:t>Demonstrates Scalable Models</a:t>
            </a:r>
          </a:p>
        </p:txBody>
      </p:sp>
      <p:sp>
        <p:nvSpPr>
          <p:cNvPr id="36" name="Snip Diagonal Corner Rectangle 35"/>
          <p:cNvSpPr/>
          <p:nvPr/>
        </p:nvSpPr>
        <p:spPr>
          <a:xfrm>
            <a:off x="1063378" y="5472629"/>
            <a:ext cx="2479449" cy="809631"/>
          </a:xfrm>
          <a:prstGeom prst="snip2DiagRect">
            <a:avLst/>
          </a:prstGeom>
          <a:solidFill>
            <a:schemeClr val="accent3">
              <a:lumMod val="40000"/>
              <a:lumOff val="60000"/>
              <a:alpha val="8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609660">
              <a:lnSpc>
                <a:spcPct val="90000"/>
              </a:lnSpc>
              <a:spcAft>
                <a:spcPct val="35000"/>
              </a:spcAft>
            </a:pPr>
            <a:r>
              <a:rPr lang="en-US" sz="1400" dirty="0">
                <a:solidFill>
                  <a:srgbClr val="B6985E">
                    <a:lumMod val="25000"/>
                  </a:srgbClr>
                </a:solidFill>
              </a:rPr>
              <a:t>Advocates/Markets Evidence of Succes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22751" y="1738663"/>
            <a:ext cx="448072" cy="455380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583" tIns="44792" rIns="89583" bIns="44792" rtlCol="0" anchor="ctr"/>
          <a:lstStyle/>
          <a:p>
            <a:pPr defTabSz="894275"/>
            <a:r>
              <a:rPr lang="en-US" sz="1800" b="0" dirty="0">
                <a:solidFill>
                  <a:srgbClr val="59452A"/>
                </a:solidFill>
              </a:rPr>
              <a:t>Implements  </a:t>
            </a:r>
            <a:r>
              <a:rPr lang="en-US" sz="1800" b="0" dirty="0">
                <a:solidFill>
                  <a:srgbClr val="59452A"/>
                </a:solidFill>
              </a:rPr>
              <a:t>A</a:t>
            </a:r>
            <a:r>
              <a:rPr lang="en-US" sz="1800" b="0" dirty="0">
                <a:solidFill>
                  <a:srgbClr val="59452A"/>
                </a:solidFill>
              </a:rPr>
              <a:t>gricultural Strategy and TOC</a:t>
            </a:r>
            <a:endParaRPr lang="en-US" sz="1800" b="0" dirty="0">
              <a:solidFill>
                <a:srgbClr val="59452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68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149358" y="597468"/>
            <a:ext cx="8662723" cy="336708"/>
          </a:xfrm>
          <a:prstGeom prst="rect">
            <a:avLst/>
          </a:prstGeom>
          <a:solidFill>
            <a:schemeClr val="accent1">
              <a:lumMod val="75000"/>
              <a:alpha val="69000"/>
            </a:schemeClr>
          </a:solidFill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600" b="0" dirty="0">
                <a:solidFill>
                  <a:srgbClr val="FFFFFF"/>
                </a:solidFill>
                <a:latin typeface="Arial"/>
                <a:cs typeface="+mn-cs"/>
              </a:rPr>
              <a:t>A Framework for Identifying the Expected Level of Effort for Grant-level MLE System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24037" y="74687"/>
            <a:ext cx="3184788" cy="459811"/>
          </a:xfrm>
          <a:prstGeom prst="rect">
            <a:avLst/>
          </a:prstGeom>
          <a:noFill/>
        </p:spPr>
        <p:txBody>
          <a:bodyPr wrap="non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2400" b="0" dirty="0">
                <a:solidFill>
                  <a:srgbClr val="59452A"/>
                </a:solidFill>
                <a:latin typeface="Arial Rounded MT Bold" pitchFamily="34" charset="0"/>
                <a:cs typeface="Aharoni" pitchFamily="2" charset="-79"/>
              </a:rPr>
              <a:t>Grant MLE </a:t>
            </a:r>
            <a:r>
              <a:rPr lang="en-US" sz="2400" b="0" dirty="0">
                <a:solidFill>
                  <a:srgbClr val="59452A"/>
                </a:solidFill>
                <a:latin typeface="Arial Rounded MT Bold" pitchFamily="34" charset="0"/>
                <a:cs typeface="Aharoni" pitchFamily="2" charset="-79"/>
              </a:rPr>
              <a:t>Typology</a:t>
            </a:r>
            <a:endParaRPr lang="en-US" sz="2400" b="0" dirty="0">
              <a:solidFill>
                <a:srgbClr val="59452A"/>
              </a:solidFill>
              <a:latin typeface="Arial Rounded MT Bold" pitchFamily="34" charset="0"/>
              <a:cs typeface="Aharoni" pitchFamily="2" charset="-79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444032" y="4803779"/>
            <a:ext cx="536137" cy="275153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Yes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6896277" y="1120248"/>
            <a:ext cx="1915807" cy="4919046"/>
            <a:chOff x="7162800" y="1143000"/>
            <a:chExt cx="1676400" cy="5410200"/>
          </a:xfrm>
        </p:grpSpPr>
        <p:sp>
          <p:nvSpPr>
            <p:cNvPr id="142" name="Round Single Corner Rectangle 141"/>
            <p:cNvSpPr/>
            <p:nvPr/>
          </p:nvSpPr>
          <p:spPr>
            <a:xfrm>
              <a:off x="7162800" y="1143000"/>
              <a:ext cx="1676400" cy="1194460"/>
            </a:xfrm>
            <a:prstGeom prst="round1Rect">
              <a:avLst/>
            </a:prstGeom>
            <a:solidFill>
              <a:schemeClr val="bg2">
                <a:lumMod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A </a:t>
              </a:r>
              <a:r>
                <a:rPr lang="en-US" sz="1800" b="0" dirty="0">
                  <a:solidFill>
                    <a:srgbClr val="FFFFFF"/>
                  </a:solidFill>
                </a:rPr>
                <a:t>- </a:t>
              </a:r>
              <a:r>
                <a:rPr lang="en-US" sz="900" dirty="0">
                  <a:solidFill>
                    <a:srgbClr val="FFFFFF"/>
                  </a:solidFill>
                </a:rPr>
                <a:t>Accountability and performance; Output-monitoring; descriptive; disaggregates; Output-specific learning; Min. </a:t>
              </a:r>
            </a:p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FFFFFF"/>
                  </a:solidFill>
                </a:rPr>
                <a:t>MLE Input; MLE 3-5%</a:t>
              </a:r>
            </a:p>
          </p:txBody>
        </p:sp>
        <p:sp>
          <p:nvSpPr>
            <p:cNvPr id="143" name="Round Single Corner Rectangle 142"/>
            <p:cNvSpPr/>
            <p:nvPr/>
          </p:nvSpPr>
          <p:spPr>
            <a:xfrm>
              <a:off x="7162800" y="2548247"/>
              <a:ext cx="1676400" cy="1194460"/>
            </a:xfrm>
            <a:prstGeom prst="round1Rect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B </a:t>
              </a:r>
              <a:r>
                <a:rPr lang="en-US" sz="1800" b="0" dirty="0">
                  <a:solidFill>
                    <a:srgbClr val="FFFFFF"/>
                  </a:solidFill>
                </a:rPr>
                <a:t>- </a:t>
              </a:r>
              <a:r>
                <a:rPr lang="en-US" sz="900" dirty="0">
                  <a:solidFill>
                    <a:srgbClr val="FFFFFF"/>
                  </a:solidFill>
                </a:rPr>
                <a:t>Assessing change over time; Pre-post outcomes; Change against benchmarks; Limited MLE input/TA;</a:t>
              </a:r>
              <a:endParaRPr lang="en-US" sz="900" b="0" dirty="0">
                <a:solidFill>
                  <a:srgbClr val="FFFFFF"/>
                </a:solidFill>
              </a:endParaRPr>
            </a:p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FFFFFF"/>
                  </a:solidFill>
                </a:rPr>
                <a:t>MLE 4-7%</a:t>
              </a:r>
              <a:endParaRPr lang="en-US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144" name="Round Single Corner Rectangle 143"/>
            <p:cNvSpPr/>
            <p:nvPr/>
          </p:nvSpPr>
          <p:spPr>
            <a:xfrm>
              <a:off x="7162800" y="3953494"/>
              <a:ext cx="1676400" cy="1194460"/>
            </a:xfrm>
            <a:prstGeom prst="round1Rect">
              <a:avLst/>
            </a:prstGeom>
            <a:solidFill>
              <a:schemeClr val="bg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C </a:t>
              </a:r>
              <a:r>
                <a:rPr lang="en-US" sz="1800" b="0" dirty="0">
                  <a:solidFill>
                    <a:srgbClr val="FFFFFF"/>
                  </a:solidFill>
                </a:rPr>
                <a:t>– </a:t>
              </a:r>
              <a:r>
                <a:rPr lang="en-US" sz="900" dirty="0">
                  <a:solidFill>
                    <a:srgbClr val="FFFFFF"/>
                  </a:solidFill>
                </a:rPr>
                <a:t>Responding to learning questions; Outcome-monitoring; systems change; Formal ME Plan review; periodic TA; MLE 6-10%</a:t>
              </a:r>
              <a:endParaRPr lang="en-US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145" name="Round Single Corner Rectangle 144"/>
            <p:cNvSpPr/>
            <p:nvPr/>
          </p:nvSpPr>
          <p:spPr>
            <a:xfrm>
              <a:off x="7162800" y="5358740"/>
              <a:ext cx="1676400" cy="1194460"/>
            </a:xfrm>
            <a:prstGeom prst="round1Rect">
              <a:avLst/>
            </a:prstGeom>
            <a:solidFill>
              <a:schemeClr val="bg2">
                <a:lumMod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rmAutofit fontScale="85000" lnSpcReduction="20000"/>
            </a:bodyPr>
            <a:lstStyle/>
            <a:p>
              <a:pPr algn="l" defTabSz="895791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D - </a:t>
              </a:r>
              <a:r>
                <a:rPr lang="en-US" sz="1000" dirty="0">
                  <a:solidFill>
                    <a:srgbClr val="FFFFFF"/>
                  </a:solidFill>
                </a:rPr>
                <a:t>Contribution and attribution; System and behavioral change; Peer review for Plan; ongoing TA/QC; support 3</a:t>
              </a:r>
              <a:r>
                <a:rPr lang="en-US" sz="1000" baseline="30000" dirty="0">
                  <a:solidFill>
                    <a:srgbClr val="FFFFFF"/>
                  </a:solidFill>
                </a:rPr>
                <a:t>rd</a:t>
              </a:r>
              <a:r>
                <a:rPr lang="en-US" sz="1000" dirty="0">
                  <a:solidFill>
                    <a:srgbClr val="FFFFFF"/>
                  </a:solidFill>
                </a:rPr>
                <a:t> party M&amp;E; MLE 8-12%</a:t>
              </a:r>
              <a:endParaRPr lang="en-US" sz="1000" b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62" name="Horizontal Scroll 61"/>
          <p:cNvSpPr/>
          <p:nvPr/>
        </p:nvSpPr>
        <p:spPr>
          <a:xfrm>
            <a:off x="5611219" y="1186827"/>
            <a:ext cx="349474" cy="328031"/>
          </a:xfrm>
          <a:prstGeom prst="horizontalScroll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>
                <a:solidFill>
                  <a:srgbClr val="FFFFFF"/>
                </a:solidFill>
              </a:rPr>
              <a:t>B</a:t>
            </a:r>
            <a:endParaRPr lang="en-US" sz="1800" b="0" dirty="0">
              <a:solidFill>
                <a:srgbClr val="FFFFFF"/>
              </a:solidFill>
            </a:endParaRPr>
          </a:p>
        </p:txBody>
      </p:sp>
      <p:sp>
        <p:nvSpPr>
          <p:cNvPr id="71" name="Horizontal Scroll 70"/>
          <p:cNvSpPr/>
          <p:nvPr/>
        </p:nvSpPr>
        <p:spPr>
          <a:xfrm>
            <a:off x="5611219" y="1631899"/>
            <a:ext cx="349474" cy="328031"/>
          </a:xfrm>
          <a:prstGeom prst="horizontalScroll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>
                <a:solidFill>
                  <a:srgbClr val="FFFFFF"/>
                </a:solidFill>
              </a:rPr>
              <a:t>A</a:t>
            </a:r>
            <a:endParaRPr lang="en-US" sz="1800" b="0" dirty="0">
              <a:solidFill>
                <a:srgbClr val="FFFFFF"/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2013414" y="5207905"/>
            <a:ext cx="1230514" cy="3464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FFFFFF"/>
                </a:solidFill>
              </a:rPr>
              <a:t>Reach = 0</a:t>
            </a:r>
          </a:p>
        </p:txBody>
      </p:sp>
      <p:sp>
        <p:nvSpPr>
          <p:cNvPr id="77" name="Rounded Rectangle 76"/>
          <p:cNvSpPr/>
          <p:nvPr/>
        </p:nvSpPr>
        <p:spPr>
          <a:xfrm>
            <a:off x="2013414" y="5692881"/>
            <a:ext cx="1230514" cy="3464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FFFFFF"/>
                </a:solidFill>
              </a:rPr>
              <a:t>Reach = 1</a:t>
            </a:r>
          </a:p>
        </p:txBody>
      </p:sp>
      <p:sp>
        <p:nvSpPr>
          <p:cNvPr id="80" name="Horizontal Scroll 79"/>
          <p:cNvSpPr/>
          <p:nvPr/>
        </p:nvSpPr>
        <p:spPr>
          <a:xfrm>
            <a:off x="3757547" y="5167872"/>
            <a:ext cx="349474" cy="328031"/>
          </a:xfrm>
          <a:prstGeom prst="horizontalScroll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>
                <a:solidFill>
                  <a:srgbClr val="FFFFFF"/>
                </a:solidFill>
              </a:rPr>
              <a:t>C</a:t>
            </a:r>
            <a:endParaRPr lang="en-US" sz="1800" b="0" dirty="0">
              <a:solidFill>
                <a:srgbClr val="FFFFFF"/>
              </a:solidFill>
            </a:endParaRPr>
          </a:p>
        </p:txBody>
      </p:sp>
      <p:cxnSp>
        <p:nvCxnSpPr>
          <p:cNvPr id="82" name="Straight Arrow Connector 81"/>
          <p:cNvCxnSpPr/>
          <p:nvPr/>
        </p:nvCxnSpPr>
        <p:spPr>
          <a:xfrm>
            <a:off x="3311347" y="5352224"/>
            <a:ext cx="302964" cy="1444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3311347" y="5841287"/>
            <a:ext cx="302964" cy="1444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Horizontal Scroll 89"/>
          <p:cNvSpPr/>
          <p:nvPr/>
        </p:nvSpPr>
        <p:spPr>
          <a:xfrm>
            <a:off x="3757547" y="5692885"/>
            <a:ext cx="349474" cy="328031"/>
          </a:xfrm>
          <a:prstGeom prst="horizontalScroll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>
                <a:solidFill>
                  <a:srgbClr val="FFFFFF"/>
                </a:solidFill>
              </a:rPr>
              <a:t>D</a:t>
            </a:r>
            <a:endParaRPr lang="en-US" sz="1800" b="0" dirty="0">
              <a:solidFill>
                <a:srgbClr val="FFFFFF"/>
              </a:solidFill>
            </a:endParaRPr>
          </a:p>
        </p:txBody>
      </p:sp>
      <p:sp>
        <p:nvSpPr>
          <p:cNvPr id="91" name="Right Brace 90"/>
          <p:cNvSpPr/>
          <p:nvPr/>
        </p:nvSpPr>
        <p:spPr>
          <a:xfrm>
            <a:off x="6386546" y="1130283"/>
            <a:ext cx="322970" cy="4919046"/>
          </a:xfrm>
          <a:prstGeom prst="rightBrace">
            <a:avLst/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59452A"/>
              </a:solidFill>
            </a:endParaRPr>
          </a:p>
        </p:txBody>
      </p:sp>
      <p:sp>
        <p:nvSpPr>
          <p:cNvPr id="92" name="Oval 91"/>
          <p:cNvSpPr/>
          <p:nvPr/>
        </p:nvSpPr>
        <p:spPr>
          <a:xfrm>
            <a:off x="609395" y="1210531"/>
            <a:ext cx="1538033" cy="781505"/>
          </a:xfrm>
          <a:prstGeom prst="ellipse">
            <a:avLst/>
          </a:prstGeom>
          <a:gradFill>
            <a:gsLst>
              <a:gs pos="0">
                <a:schemeClr val="tx1">
                  <a:lumMod val="75000"/>
                </a:schemeClr>
              </a:gs>
              <a:gs pos="50000">
                <a:schemeClr val="tx1">
                  <a:lumMod val="60000"/>
                  <a:lumOff val="40000"/>
                </a:schemeClr>
              </a:gs>
              <a:gs pos="100000">
                <a:schemeClr val="tx1">
                  <a:lumMod val="40000"/>
                  <a:lumOff val="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FFFFFF"/>
                </a:solidFill>
              </a:rPr>
              <a:t>Is the grant Product Exclusive?*</a:t>
            </a:r>
          </a:p>
        </p:txBody>
      </p:sp>
      <p:cxnSp>
        <p:nvCxnSpPr>
          <p:cNvPr id="93" name="Straight Arrow Connector 92"/>
          <p:cNvCxnSpPr/>
          <p:nvPr/>
        </p:nvCxnSpPr>
        <p:spPr>
          <a:xfrm>
            <a:off x="2217223" y="1601279"/>
            <a:ext cx="789158" cy="0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2335438" y="1358847"/>
            <a:ext cx="472314" cy="275153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Yes</a:t>
            </a:r>
          </a:p>
        </p:txBody>
      </p:sp>
      <p:cxnSp>
        <p:nvCxnSpPr>
          <p:cNvPr id="102" name="Straight Arrow Connector 101"/>
          <p:cNvCxnSpPr/>
          <p:nvPr/>
        </p:nvCxnSpPr>
        <p:spPr>
          <a:xfrm flipH="1">
            <a:off x="1374273" y="2080347"/>
            <a:ext cx="8270" cy="537223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/>
          <p:cNvSpPr txBox="1"/>
          <p:nvPr/>
        </p:nvSpPr>
        <p:spPr>
          <a:xfrm>
            <a:off x="1373900" y="2203816"/>
            <a:ext cx="376539" cy="275153"/>
          </a:xfrm>
          <a:prstGeom prst="rect">
            <a:avLst/>
          </a:prstGeom>
          <a:noFill/>
        </p:spPr>
        <p:txBody>
          <a:bodyPr wrap="non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No</a:t>
            </a:r>
          </a:p>
        </p:txBody>
      </p:sp>
      <p:sp>
        <p:nvSpPr>
          <p:cNvPr id="120" name="Oval 119"/>
          <p:cNvSpPr/>
          <p:nvPr/>
        </p:nvSpPr>
        <p:spPr>
          <a:xfrm>
            <a:off x="3059610" y="1351579"/>
            <a:ext cx="1535941" cy="546370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FFFFFF"/>
                </a:solidFill>
              </a:rPr>
              <a:t>Is the grant a Pilot or POC?</a:t>
            </a:r>
          </a:p>
        </p:txBody>
      </p:sp>
      <p:cxnSp>
        <p:nvCxnSpPr>
          <p:cNvPr id="121" name="Straight Arrow Connector 120"/>
          <p:cNvCxnSpPr/>
          <p:nvPr/>
        </p:nvCxnSpPr>
        <p:spPr>
          <a:xfrm flipV="1">
            <a:off x="4683272" y="1379502"/>
            <a:ext cx="793193" cy="157098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/>
          <p:cNvSpPr txBox="1"/>
          <p:nvPr/>
        </p:nvSpPr>
        <p:spPr>
          <a:xfrm>
            <a:off x="4810907" y="1210526"/>
            <a:ext cx="537923" cy="275153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Yes</a:t>
            </a:r>
          </a:p>
        </p:txBody>
      </p:sp>
      <p:cxnSp>
        <p:nvCxnSpPr>
          <p:cNvPr id="123" name="Straight Arrow Connector 122"/>
          <p:cNvCxnSpPr/>
          <p:nvPr/>
        </p:nvCxnSpPr>
        <p:spPr>
          <a:xfrm>
            <a:off x="4683272" y="1675168"/>
            <a:ext cx="793193" cy="144235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123"/>
          <p:cNvSpPr txBox="1"/>
          <p:nvPr/>
        </p:nvSpPr>
        <p:spPr>
          <a:xfrm>
            <a:off x="4904072" y="1546218"/>
            <a:ext cx="376539" cy="275153"/>
          </a:xfrm>
          <a:prstGeom prst="rect">
            <a:avLst/>
          </a:prstGeom>
          <a:noFill/>
        </p:spPr>
        <p:txBody>
          <a:bodyPr wrap="non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No</a:t>
            </a:r>
          </a:p>
        </p:txBody>
      </p:sp>
      <p:cxnSp>
        <p:nvCxnSpPr>
          <p:cNvPr id="126" name="Straight Arrow Connector 125"/>
          <p:cNvCxnSpPr/>
          <p:nvPr/>
        </p:nvCxnSpPr>
        <p:spPr>
          <a:xfrm flipH="1">
            <a:off x="1374273" y="3589805"/>
            <a:ext cx="8270" cy="684312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1408112" y="3694098"/>
            <a:ext cx="927326" cy="644485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Systems and Behaviors</a:t>
            </a:r>
          </a:p>
        </p:txBody>
      </p:sp>
      <p:sp>
        <p:nvSpPr>
          <p:cNvPr id="128" name="Oval 127"/>
          <p:cNvSpPr/>
          <p:nvPr/>
        </p:nvSpPr>
        <p:spPr>
          <a:xfrm>
            <a:off x="610442" y="4368251"/>
            <a:ext cx="1535941" cy="783254"/>
          </a:xfrm>
          <a:prstGeom prst="ellipse">
            <a:avLst/>
          </a:prstGeom>
          <a:gradFill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5400000" scaled="0"/>
          </a:gra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FFFFFF"/>
                </a:solidFill>
              </a:rPr>
              <a:t>Is the grant a Pilot or POC?</a:t>
            </a:r>
          </a:p>
        </p:txBody>
      </p:sp>
      <p:cxnSp>
        <p:nvCxnSpPr>
          <p:cNvPr id="129" name="Straight Arrow Connector 128"/>
          <p:cNvCxnSpPr/>
          <p:nvPr/>
        </p:nvCxnSpPr>
        <p:spPr>
          <a:xfrm>
            <a:off x="2335437" y="4779838"/>
            <a:ext cx="800536" cy="0"/>
          </a:xfrm>
          <a:prstGeom prst="straightConnector1">
            <a:avLst/>
          </a:prstGeom>
          <a:ln w="15875">
            <a:solidFill>
              <a:schemeClr val="bg2">
                <a:lumMod val="1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Horizontal Scroll 129"/>
          <p:cNvSpPr/>
          <p:nvPr/>
        </p:nvSpPr>
        <p:spPr>
          <a:xfrm>
            <a:off x="3307528" y="4595858"/>
            <a:ext cx="349474" cy="328031"/>
          </a:xfrm>
          <a:prstGeom prst="horizontalScroll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83" tIns="44792" rIns="89583" bIns="44792" rtlCol="0" anchor="ctr"/>
          <a:lstStyle/>
          <a:p>
            <a:pPr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>
                <a:solidFill>
                  <a:srgbClr val="FFFFFF"/>
                </a:solidFill>
              </a:rPr>
              <a:t>D</a:t>
            </a:r>
            <a:endParaRPr lang="en-US" sz="1800" b="0" dirty="0">
              <a:solidFill>
                <a:srgbClr val="FFFFFF"/>
              </a:solidFill>
            </a:endParaRPr>
          </a:p>
        </p:txBody>
      </p:sp>
      <p:grpSp>
        <p:nvGrpSpPr>
          <p:cNvPr id="131" name="Group 130"/>
          <p:cNvGrpSpPr/>
          <p:nvPr/>
        </p:nvGrpSpPr>
        <p:grpSpPr>
          <a:xfrm>
            <a:off x="1348953" y="5352224"/>
            <a:ext cx="454271" cy="388928"/>
            <a:chOff x="2956368" y="2120485"/>
            <a:chExt cx="472632" cy="427762"/>
          </a:xfrm>
        </p:grpSpPr>
        <p:cxnSp>
          <p:nvCxnSpPr>
            <p:cNvPr id="140" name="Straight Connector 139"/>
            <p:cNvCxnSpPr/>
            <p:nvPr/>
          </p:nvCxnSpPr>
          <p:spPr>
            <a:xfrm>
              <a:off x="2956368" y="2120485"/>
              <a:ext cx="0" cy="427762"/>
            </a:xfrm>
            <a:prstGeom prst="line">
              <a:avLst/>
            </a:prstGeom>
            <a:ln w="15875">
              <a:solidFill>
                <a:schemeClr val="bg2">
                  <a:lumMod val="1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Arrow Connector 140"/>
            <p:cNvCxnSpPr/>
            <p:nvPr/>
          </p:nvCxnSpPr>
          <p:spPr>
            <a:xfrm>
              <a:off x="2956368" y="2548247"/>
              <a:ext cx="472632" cy="0"/>
            </a:xfrm>
            <a:prstGeom prst="straightConnector1">
              <a:avLst/>
            </a:prstGeom>
            <a:ln w="15875">
              <a:solidFill>
                <a:schemeClr val="bg2">
                  <a:lumMod val="1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2" name="TextBox 131"/>
          <p:cNvSpPr txBox="1"/>
          <p:nvPr/>
        </p:nvSpPr>
        <p:spPr>
          <a:xfrm>
            <a:off x="1022680" y="5394179"/>
            <a:ext cx="376539" cy="275153"/>
          </a:xfrm>
          <a:prstGeom prst="rect">
            <a:avLst/>
          </a:prstGeom>
          <a:noFill/>
        </p:spPr>
        <p:txBody>
          <a:bodyPr wrap="non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No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4658730" y="4653915"/>
            <a:ext cx="1680672" cy="459819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* Only develops outputs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4705877" y="5586764"/>
            <a:ext cx="1680672" cy="459819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POC – Proof of Concept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4705877" y="5126937"/>
            <a:ext cx="1680672" cy="459819"/>
          </a:xfrm>
          <a:prstGeom prst="rect">
            <a:avLst/>
          </a:prstGeom>
          <a:noFill/>
        </p:spPr>
        <p:txBody>
          <a:bodyPr wrap="square" lIns="89583" tIns="44792" rIns="89583" bIns="44792" rtlCol="0">
            <a:spAutoFit/>
          </a:bodyPr>
          <a:lstStyle/>
          <a:p>
            <a:pPr algn="l" defTabSz="895791" fontAlgn="auto">
              <a:spcBef>
                <a:spcPts val="0"/>
              </a:spcBef>
              <a:spcAft>
                <a:spcPts val="0"/>
              </a:spcAft>
            </a:pPr>
            <a:r>
              <a:rPr lang="en-US" sz="1200" b="0" dirty="0">
                <a:solidFill>
                  <a:srgbClr val="59452A"/>
                </a:solidFill>
                <a:latin typeface="Arial"/>
                <a:cs typeface="+mn-cs"/>
              </a:rPr>
              <a:t>** Includes system or behavioral changes</a:t>
            </a:r>
          </a:p>
        </p:txBody>
      </p:sp>
      <p:sp>
        <p:nvSpPr>
          <p:cNvPr id="147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81514"/>
            <a:ext cx="2091002" cy="357856"/>
          </a:xfrm>
        </p:spPr>
        <p:txBody>
          <a:bodyPr/>
          <a:lstStyle/>
          <a:p>
            <a:fld id="{82F1DF56-E329-41D3-A843-AD37D080C1B9}" type="datetime4">
              <a:rPr lang="en-US" smtClean="0">
                <a:solidFill>
                  <a:srgbClr val="FFFFFF"/>
                </a:solidFill>
              </a:rPr>
              <a:pPr/>
              <a:t>June 11, 201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4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20666" y="6281721"/>
            <a:ext cx="2260167" cy="357856"/>
          </a:xfrm>
        </p:spPr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© 2010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26600" y="6284409"/>
            <a:ext cx="376380" cy="357856"/>
          </a:xfrm>
        </p:spPr>
        <p:txBody>
          <a:bodyPr/>
          <a:lstStyle/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5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610438" y="2631126"/>
            <a:ext cx="5709655" cy="1739410"/>
            <a:chOff x="622874" y="2684569"/>
            <a:chExt cx="5825972" cy="1774740"/>
          </a:xfrm>
        </p:grpSpPr>
        <p:cxnSp>
          <p:nvCxnSpPr>
            <p:cNvPr id="64" name="Straight Arrow Connector 63"/>
            <p:cNvCxnSpPr/>
            <p:nvPr/>
          </p:nvCxnSpPr>
          <p:spPr>
            <a:xfrm flipV="1">
              <a:off x="4801741" y="3007957"/>
              <a:ext cx="809352" cy="160289"/>
            </a:xfrm>
            <a:prstGeom prst="straightConnector1">
              <a:avLst/>
            </a:prstGeom>
            <a:ln w="15875">
              <a:solidFill>
                <a:schemeClr val="bg2">
                  <a:lumMod val="1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ounded Rectangle 71"/>
            <p:cNvSpPr/>
            <p:nvPr/>
          </p:nvSpPr>
          <p:spPr>
            <a:xfrm>
              <a:off x="4384463" y="3611034"/>
              <a:ext cx="1203566" cy="353448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rgbClr val="FFFFFF"/>
                  </a:solidFill>
                </a:rPr>
                <a:t>Is Scope &lt; 3?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4384463" y="4105861"/>
              <a:ext cx="1203566" cy="353448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rgbClr val="FFFFFF"/>
                  </a:solidFill>
                </a:rPr>
                <a:t>Is Scope &gt; 3?</a:t>
              </a:r>
            </a:p>
          </p:txBody>
        </p:sp>
        <p:cxnSp>
          <p:nvCxnSpPr>
            <p:cNvPr id="75" name="Straight Arrow Connector 74"/>
            <p:cNvCxnSpPr/>
            <p:nvPr/>
          </p:nvCxnSpPr>
          <p:spPr>
            <a:xfrm>
              <a:off x="5656821" y="3776160"/>
              <a:ext cx="309136" cy="1473"/>
            </a:xfrm>
            <a:prstGeom prst="straightConnector1">
              <a:avLst/>
            </a:prstGeom>
            <a:ln w="15875">
              <a:solidFill>
                <a:schemeClr val="bg2">
                  <a:lumMod val="1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Horizontal Scroll 77"/>
            <p:cNvSpPr/>
            <p:nvPr/>
          </p:nvSpPr>
          <p:spPr>
            <a:xfrm>
              <a:off x="6092253" y="3582907"/>
              <a:ext cx="356593" cy="334694"/>
            </a:xfrm>
            <a:prstGeom prst="horizontalScroll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B</a:t>
              </a:r>
              <a:endParaRPr lang="en-US" sz="1800" b="0" dirty="0">
                <a:solidFill>
                  <a:srgbClr val="FFFFFF"/>
                </a:solidFill>
              </a:endParaRPr>
            </a:p>
          </p:txBody>
        </p:sp>
        <p:sp>
          <p:nvSpPr>
            <p:cNvPr id="79" name="Horizontal Scroll 78"/>
            <p:cNvSpPr/>
            <p:nvPr/>
          </p:nvSpPr>
          <p:spPr>
            <a:xfrm>
              <a:off x="6092253" y="4081366"/>
              <a:ext cx="356593" cy="334694"/>
            </a:xfrm>
            <a:prstGeom prst="horizontalScroll">
              <a:avLst/>
            </a:prstGeom>
            <a:solidFill>
              <a:schemeClr val="bg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C</a:t>
              </a:r>
              <a:endParaRPr lang="en-US" sz="1800" b="0" dirty="0">
                <a:solidFill>
                  <a:srgbClr val="FFFFFF"/>
                </a:solidFill>
              </a:endParaRPr>
            </a:p>
          </p:txBody>
        </p:sp>
        <p:cxnSp>
          <p:nvCxnSpPr>
            <p:cNvPr id="81" name="Straight Arrow Connector 80"/>
            <p:cNvCxnSpPr/>
            <p:nvPr/>
          </p:nvCxnSpPr>
          <p:spPr>
            <a:xfrm>
              <a:off x="5651716" y="4247240"/>
              <a:ext cx="309136" cy="1473"/>
            </a:xfrm>
            <a:prstGeom prst="straightConnector1">
              <a:avLst/>
            </a:prstGeom>
            <a:ln w="15875">
              <a:solidFill>
                <a:schemeClr val="bg2">
                  <a:lumMod val="1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Oval 82"/>
            <p:cNvSpPr/>
            <p:nvPr/>
          </p:nvSpPr>
          <p:spPr>
            <a:xfrm>
              <a:off x="3121937" y="2908391"/>
              <a:ext cx="1567231" cy="557468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</a:rPr>
                <a:t>Is the grant a Pilot or POC?</a:t>
              </a: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4902060" y="2824253"/>
              <a:ext cx="548882" cy="2826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rgbClr val="59452A"/>
                  </a:solidFill>
                  <a:latin typeface="Arial"/>
                  <a:cs typeface="+mn-cs"/>
                </a:rPr>
                <a:t>Yes</a:t>
              </a:r>
            </a:p>
          </p:txBody>
        </p:sp>
        <p:sp>
          <p:nvSpPr>
            <p:cNvPr id="85" name="Oval 84"/>
            <p:cNvSpPr/>
            <p:nvPr/>
          </p:nvSpPr>
          <p:spPr>
            <a:xfrm>
              <a:off x="622874" y="2755547"/>
              <a:ext cx="1567231" cy="799163"/>
            </a:xfrm>
            <a:prstGeom prst="ellipse">
              <a:avLst/>
            </a:prstGeom>
            <a:gradFill>
              <a:gsLst>
                <a:gs pos="0">
                  <a:schemeClr val="accent2">
                    <a:lumMod val="50000"/>
                  </a:schemeClr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0"/>
            </a:gra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>
                  <a:solidFill>
                    <a:srgbClr val="FFFFFF"/>
                  </a:solidFill>
                </a:rPr>
                <a:t>Types of Outcomes included**</a:t>
              </a:r>
            </a:p>
          </p:txBody>
        </p:sp>
        <p:cxnSp>
          <p:nvCxnSpPr>
            <p:cNvPr id="87" name="Straight Arrow Connector 86"/>
            <p:cNvCxnSpPr/>
            <p:nvPr/>
          </p:nvCxnSpPr>
          <p:spPr>
            <a:xfrm>
              <a:off x="2282849" y="3151827"/>
              <a:ext cx="816844" cy="0"/>
            </a:xfrm>
            <a:prstGeom prst="straightConnector1">
              <a:avLst/>
            </a:prstGeom>
            <a:ln w="15875">
              <a:solidFill>
                <a:schemeClr val="bg2">
                  <a:lumMod val="1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2215509" y="2684569"/>
              <a:ext cx="805235" cy="4710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rgbClr val="59452A"/>
                  </a:solidFill>
                  <a:latin typeface="Arial"/>
                  <a:cs typeface="+mn-cs"/>
                </a:rPr>
                <a:t>Systems Only</a:t>
              </a:r>
            </a:p>
          </p:txBody>
        </p:sp>
        <p:sp>
          <p:nvSpPr>
            <p:cNvPr id="89" name="Horizontal Scroll 88"/>
            <p:cNvSpPr/>
            <p:nvPr/>
          </p:nvSpPr>
          <p:spPr>
            <a:xfrm>
              <a:off x="5741834" y="2824253"/>
              <a:ext cx="356593" cy="334694"/>
            </a:xfrm>
            <a:prstGeom prst="horizontalScroll">
              <a:avLst/>
            </a:prstGeom>
            <a:solidFill>
              <a:schemeClr val="bg2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0" dirty="0">
                  <a:solidFill>
                    <a:srgbClr val="FFFFFF"/>
                  </a:solidFill>
                </a:rPr>
                <a:t>C</a:t>
              </a:r>
              <a:endParaRPr lang="en-US" sz="1800" b="0" dirty="0">
                <a:solidFill>
                  <a:srgbClr val="FFFFFF"/>
                </a:solidFill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3920938" y="3620411"/>
              <a:ext cx="463525" cy="396828"/>
              <a:chOff x="2956368" y="2120485"/>
              <a:chExt cx="472632" cy="427762"/>
            </a:xfrm>
          </p:grpSpPr>
          <p:cxnSp>
            <p:nvCxnSpPr>
              <p:cNvPr id="97" name="Straight Connector 96"/>
              <p:cNvCxnSpPr/>
              <p:nvPr/>
            </p:nvCxnSpPr>
            <p:spPr>
              <a:xfrm>
                <a:off x="2956368" y="2120485"/>
                <a:ext cx="0" cy="427762"/>
              </a:xfrm>
              <a:prstGeom prst="line">
                <a:avLst/>
              </a:prstGeom>
              <a:ln w="15875">
                <a:solidFill>
                  <a:schemeClr val="bg2">
                    <a:lumMod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Arrow Connector 97"/>
              <p:cNvCxnSpPr/>
              <p:nvPr/>
            </p:nvCxnSpPr>
            <p:spPr>
              <a:xfrm>
                <a:off x="2956368" y="2548247"/>
                <a:ext cx="472632" cy="0"/>
              </a:xfrm>
              <a:prstGeom prst="straightConnector1">
                <a:avLst/>
              </a:prstGeom>
              <a:ln w="15875">
                <a:solidFill>
                  <a:schemeClr val="bg2">
                    <a:lumMod val="10000"/>
                  </a:schemeClr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TextBox 95"/>
            <p:cNvSpPr txBox="1"/>
            <p:nvPr/>
          </p:nvSpPr>
          <p:spPr>
            <a:xfrm>
              <a:off x="3562181" y="3682774"/>
              <a:ext cx="387978" cy="2826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 defTabSz="89579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dirty="0">
                  <a:solidFill>
                    <a:srgbClr val="59452A"/>
                  </a:solidFill>
                  <a:latin typeface="Arial"/>
                  <a:cs typeface="+mn-cs"/>
                </a:rPr>
                <a:t>N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104928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pPr marL="388814" indent="-388814" defTabSz="894275">
              <a:spcBef>
                <a:spcPct val="20000"/>
              </a:spcBef>
            </a:pPr>
            <a:r>
              <a:rPr lang="en-US" sz="2400" dirty="0"/>
              <a:t>GD Agriculture’s MLE Approach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 marL="223980" lvl="1">
              <a:lnSpc>
                <a:spcPts val="2548"/>
              </a:lnSpc>
              <a:spcAft>
                <a:spcPts val="600"/>
              </a:spcAft>
              <a:buSzTx/>
              <a:buFont typeface="Wingdings" pitchFamily="2" charset="2"/>
              <a:buChar char="§"/>
            </a:pPr>
            <a:r>
              <a:rPr lang="en-US" dirty="0" smtClean="0"/>
              <a:t>Selling our successes</a:t>
            </a:r>
            <a:endParaRPr lang="en-US" baseline="30000" dirty="0" smtClean="0"/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b="0" dirty="0" smtClean="0"/>
              <a:t>Depend o</a:t>
            </a:r>
            <a:r>
              <a:rPr lang="en-US" b="0" dirty="0" smtClean="0">
                <a:ea typeface="Calibri"/>
              </a:rPr>
              <a:t>n </a:t>
            </a:r>
            <a:r>
              <a:rPr lang="en-US" b="0" dirty="0">
                <a:ea typeface="Calibri"/>
              </a:rPr>
              <a:t>others to replicate or take to </a:t>
            </a:r>
            <a:r>
              <a:rPr lang="en-US" b="0" dirty="0" smtClean="0">
                <a:ea typeface="Calibri"/>
              </a:rPr>
              <a:t>scale</a:t>
            </a:r>
          </a:p>
          <a:p>
            <a:pPr marL="223982" lvl="1" indent="0">
              <a:lnSpc>
                <a:spcPct val="100000"/>
              </a:lnSpc>
              <a:spcAft>
                <a:spcPts val="600"/>
              </a:spcAft>
              <a:buNone/>
            </a:pPr>
            <a:endParaRPr lang="en-US" b="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000" dirty="0" smtClean="0"/>
              <a:t>Promoting </a:t>
            </a:r>
            <a:r>
              <a:rPr lang="en-US" sz="2000" dirty="0" smtClean="0">
                <a:ea typeface="Calibri"/>
              </a:rPr>
              <a:t>cost-effective </a:t>
            </a:r>
            <a:r>
              <a:rPr lang="en-US" sz="2000" dirty="0">
                <a:ea typeface="Calibri"/>
              </a:rPr>
              <a:t>and right-sized MLE </a:t>
            </a:r>
            <a:r>
              <a:rPr lang="en-US" sz="2000" dirty="0" smtClean="0">
                <a:ea typeface="Calibri"/>
              </a:rPr>
              <a:t>strategies</a:t>
            </a:r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endParaRPr lang="en-US" sz="2000" dirty="0" smtClean="0"/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000" dirty="0" smtClean="0"/>
              <a:t>Testing </a:t>
            </a:r>
            <a:r>
              <a:rPr lang="en-US" sz="2000" dirty="0">
                <a:ea typeface="Calibri"/>
              </a:rPr>
              <a:t>success stories through deep insight from a set of strategically selected </a:t>
            </a:r>
            <a:r>
              <a:rPr lang="en-US" sz="2000" dirty="0" smtClean="0">
                <a:ea typeface="Calibri"/>
              </a:rPr>
              <a:t>grants</a:t>
            </a:r>
          </a:p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endParaRPr lang="en-US" sz="2000" dirty="0" smtClean="0">
              <a:ea typeface="Calibri"/>
            </a:endParaRPr>
          </a:p>
          <a:p>
            <a:pPr marL="223980" lvl="1">
              <a:lnSpc>
                <a:spcPct val="100000"/>
              </a:lnSpc>
              <a:spcAft>
                <a:spcPts val="600"/>
              </a:spcAft>
              <a:buSzTx/>
              <a:buFont typeface="Wingdings" pitchFamily="2" charset="2"/>
              <a:buChar char="§"/>
            </a:pPr>
            <a:r>
              <a:rPr lang="en-US" dirty="0" smtClean="0">
                <a:ea typeface="Calibri"/>
              </a:rPr>
              <a:t>Basing effort </a:t>
            </a:r>
            <a:r>
              <a:rPr lang="en-US" dirty="0">
                <a:ea typeface="Calibri"/>
              </a:rPr>
              <a:t>on a modest number of grants that likely tells 80% of the </a:t>
            </a:r>
            <a:r>
              <a:rPr lang="en-US" dirty="0" smtClean="0">
                <a:ea typeface="Calibri"/>
              </a:rPr>
              <a:t>story</a:t>
            </a:r>
          </a:p>
          <a:p>
            <a:pPr marL="0" lvl="1" indent="0">
              <a:lnSpc>
                <a:spcPct val="100000"/>
              </a:lnSpc>
              <a:spcAft>
                <a:spcPts val="600"/>
              </a:spcAft>
              <a:buSzTx/>
              <a:buNone/>
            </a:pPr>
            <a:endParaRPr lang="en-US" dirty="0" smtClean="0">
              <a:ea typeface="Calibri"/>
            </a:endParaRPr>
          </a:p>
          <a:p>
            <a:pPr marL="223980" lvl="1">
              <a:lnSpc>
                <a:spcPct val="100000"/>
              </a:lnSpc>
              <a:spcAft>
                <a:spcPts val="600"/>
              </a:spcAft>
              <a:buSzTx/>
              <a:buFont typeface="Wingdings" pitchFamily="2" charset="2"/>
              <a:buChar char="§"/>
            </a:pPr>
            <a:r>
              <a:rPr lang="en-US" dirty="0" smtClean="0">
                <a:ea typeface="Calibri"/>
              </a:rPr>
              <a:t>Realizing </a:t>
            </a:r>
            <a:r>
              <a:rPr lang="en-US" dirty="0">
                <a:ea typeface="Calibri"/>
              </a:rPr>
              <a:t>that good data is essential to robust MLE; but, we cannot get high quality data doing business as usual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sz="2000" dirty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sz="2000" dirty="0">
              <a:ea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0476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5344" y="224858"/>
            <a:ext cx="6987655" cy="332399"/>
          </a:xfrm>
        </p:spPr>
        <p:txBody>
          <a:bodyPr/>
          <a:lstStyle/>
          <a:p>
            <a:r>
              <a:rPr lang="en-US" sz="2400" dirty="0"/>
              <a:t>Features of our Outcome Monitoring </a:t>
            </a:r>
            <a:r>
              <a:rPr lang="en-US" sz="2400" dirty="0" smtClean="0"/>
              <a:t>Effort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096" y="909576"/>
            <a:ext cx="7953211" cy="5081793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dirty="0" smtClean="0"/>
              <a:t>Shift in burden from outputs to outcomes</a:t>
            </a:r>
            <a:endParaRPr lang="en-US" sz="1800" baseline="30000" dirty="0"/>
          </a:p>
          <a:p>
            <a:pPr lvl="1">
              <a:spcAft>
                <a:spcPts val="600"/>
              </a:spcAft>
            </a:pPr>
            <a:r>
              <a:rPr lang="en-US" dirty="0" smtClean="0"/>
              <a:t>Now 80/20, let’s change it to 20/80</a:t>
            </a:r>
          </a:p>
          <a:p>
            <a:pPr lvl="1">
              <a:lnSpc>
                <a:spcPct val="100000"/>
              </a:lnSpc>
              <a:spcAft>
                <a:spcPts val="1200"/>
              </a:spcAft>
            </a:pPr>
            <a:r>
              <a:rPr lang="en-US" dirty="0" smtClean="0"/>
              <a:t>Look for outcome investment opportunitie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Focused on key behavior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Based on ‘Light-touch’ Surveys</a:t>
            </a:r>
          </a:p>
          <a:p>
            <a:pPr lvl="1"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LQAS-based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3-page Questionnaire limit</a:t>
            </a:r>
          </a:p>
          <a:p>
            <a:pPr>
              <a:spcAft>
                <a:spcPts val="1200"/>
              </a:spcAft>
            </a:pPr>
            <a:r>
              <a:rPr lang="en-US" dirty="0" smtClean="0"/>
              <a:t>Maximizing use of technology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E.g., Smart Phone or e-Pad Data Collection; AWhere</a:t>
            </a:r>
          </a:p>
          <a:p>
            <a:pPr>
              <a:spcAft>
                <a:spcPts val="1200"/>
              </a:spcAft>
            </a:pPr>
            <a:r>
              <a:rPr lang="en-US" dirty="0" smtClean="0"/>
              <a:t>Rapid data turn-around</a:t>
            </a:r>
          </a:p>
          <a:p>
            <a:pPr lvl="1">
              <a:spcAft>
                <a:spcPts val="1200"/>
              </a:spcAft>
            </a:pPr>
            <a:r>
              <a:rPr lang="en-US" dirty="0" smtClean="0"/>
              <a:t>Pre-loaded analysis modules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dirty="0" smtClean="0"/>
              <a:t>Management driven and owned; dynami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27100" y="6284269"/>
            <a:ext cx="376505" cy="357856"/>
          </a:xfrm>
          <a:prstGeom prst="rect">
            <a:avLst/>
          </a:prstGeom>
        </p:spPr>
        <p:txBody>
          <a:bodyPr lIns="91420" tIns="45710" rIns="91420" bIns="45710"/>
          <a:lstStyle/>
          <a:p>
            <a:pPr>
              <a:defRPr/>
            </a:pPr>
            <a:fld id="{F1BC6AFC-BCC1-43C8-94AA-25B2B621E1B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n 8"/>
          <p:cNvSpPr/>
          <p:nvPr/>
        </p:nvSpPr>
        <p:spPr bwMode="auto">
          <a:xfrm>
            <a:off x="329806" y="179516"/>
            <a:ext cx="423081" cy="423079"/>
          </a:xfrm>
          <a:prstGeom prst="sun">
            <a:avLst/>
          </a:prstGeom>
          <a:solidFill>
            <a:srgbClr val="7030A0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16" tIns="45708" rIns="91416" bIns="45708" numCol="1" spcCol="0" rtlCol="0" anchor="ctr" anchorCtr="0" compatLnSpc="1">
            <a:prstTxWarp prst="textNoShape">
              <a:avLst/>
            </a:prstTxWarp>
          </a:bodyPr>
          <a:lstStyle/>
          <a:p>
            <a:pPr defTabSz="913905"/>
            <a:endParaRPr lang="en-US" sz="2300" dirty="0">
              <a:solidFill>
                <a:schemeClr val="accent1">
                  <a:lumMod val="50000"/>
                </a:schemeClr>
              </a:solidFill>
              <a:latin typeface="Segoe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005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B4D3A14-397C-453F-956B-E455D295DEE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613313"/>
              </p:ext>
            </p:extLst>
          </p:nvPr>
        </p:nvGraphicFramePr>
        <p:xfrm>
          <a:off x="149614" y="1007381"/>
          <a:ext cx="8571304" cy="5349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22418"/>
                <a:gridCol w="2775470"/>
                <a:gridCol w="1959155"/>
                <a:gridCol w="1714261"/>
              </a:tblGrid>
              <a:tr h="5349240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Key Outcomes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Sustainable productivity growth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Diffusion of new innovations and practices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Farmer uptake and adoption </a:t>
                      </a: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of new technologies and practices (e.g., cropping, storage, marketing)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Farmer use</a:t>
                      </a: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 of new cropping and livestock practices (e.g., fertilizer, storage, AI)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Farmer/herder access</a:t>
                      </a: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 to and use of markets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1" dirty="0">
                          <a:solidFill>
                            <a:schemeClr val="accent6"/>
                          </a:solidFill>
                          <a:effectLst/>
                        </a:rPr>
                        <a:t>Changes in the way farmers receive information and learn</a:t>
                      </a:r>
                      <a:endParaRPr lang="en-US" sz="1300" b="1" dirty="0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9859" marR="69859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Outcome monitoring (at the grant level) to determine uptake and use of technology</a:t>
                      </a:r>
                    </a:p>
                    <a:p>
                      <a:pPr marL="2286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Evaluations to measure country/regional changes in crop yields or post-harvest losses for priority staples</a:t>
                      </a:r>
                    </a:p>
                    <a:p>
                      <a:pPr marL="2286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Evaluations that assess farmer behavior changes associated with grant-specific  interventions (e.g., use of new crop/livestock management practices)</a:t>
                      </a:r>
                    </a:p>
                    <a:p>
                      <a:pPr marL="4572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Evaluations of extension modalities (e.g., Farmer Voice Radio)</a:t>
                      </a:r>
                    </a:p>
                    <a:p>
                      <a:pPr marL="4572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ATAI grant (using RCTs to assess barriers to adoption, impact of adoption)</a:t>
                      </a:r>
                    </a:p>
                    <a:p>
                      <a:pPr marL="4572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Grant-level M&amp;E systems (quantitative and qualitative methods)</a:t>
                      </a:r>
                      <a:endParaRPr lang="en-US" sz="1300" b="0" dirty="0">
                        <a:solidFill>
                          <a:schemeClr val="accent6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9859" marR="69859" marT="0" marB="0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To determine if we are investing in the right things  and at the right pace and scale to drive change</a:t>
                      </a:r>
                    </a:p>
                    <a:p>
                      <a:pPr marL="2286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To test  assumptions &amp; hypotheses about how change occurs in our TOC</a:t>
                      </a:r>
                    </a:p>
                    <a:p>
                      <a:pPr marL="4572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To provide estimates on key parameters (e.g., adoption) that drive impact</a:t>
                      </a:r>
                    </a:p>
                    <a:p>
                      <a:pPr marL="45720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  <a:endParaRPr lang="en-US" sz="1300" b="0" dirty="0">
                        <a:solidFill>
                          <a:schemeClr val="accent6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859" marR="69859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Grantees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(grant evaluation reports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  <a:endParaRPr lang="en-US" sz="1300" b="0" dirty="0">
                        <a:solidFill>
                          <a:schemeClr val="accent6"/>
                        </a:solidFill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Third-party evaluators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(evaluation reports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300" b="0" dirty="0">
                          <a:solidFill>
                            <a:schemeClr val="accent6"/>
                          </a:solidFill>
                          <a:effectLst/>
                        </a:rPr>
                        <a:t> </a:t>
                      </a:r>
                      <a:endParaRPr lang="en-US" sz="1300" b="0" dirty="0">
                        <a:solidFill>
                          <a:schemeClr val="accent6"/>
                        </a:solidFill>
                        <a:effectLst/>
                      </a:endParaRPr>
                    </a:p>
                    <a:p>
                      <a:pPr marL="342900" marR="0" lvl="0" indent="-342900" algn="l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MLE Team &amp; Data Team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0" dirty="0">
                          <a:solidFill>
                            <a:schemeClr val="accent6"/>
                          </a:solidFill>
                          <a:effectLst/>
                        </a:rPr>
                        <a:t>(cross-cutting evaluations; meta-evaluations;  Initiative and Sub-Initiative scorecards)</a:t>
                      </a:r>
                      <a:endParaRPr lang="en-US" sz="1300" b="0" dirty="0">
                        <a:solidFill>
                          <a:schemeClr val="accent6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859" marR="69859" marT="0" marB="0"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23334" y="18000"/>
            <a:ext cx="4667534" cy="367486"/>
          </a:xfrm>
          <a:prstGeom prst="rect">
            <a:avLst/>
          </a:prstGeom>
          <a:noFill/>
        </p:spPr>
        <p:txBody>
          <a:bodyPr wrap="square" lIns="89592" tIns="44797" rIns="89592" bIns="44797" rtlCol="0">
            <a:spAutoFit/>
          </a:bodyPr>
          <a:lstStyle/>
          <a:p>
            <a:pPr marL="388855" indent="-388855" algn="l">
              <a:lnSpc>
                <a:spcPct val="90000"/>
              </a:lnSpc>
              <a:spcBef>
                <a:spcPct val="20000"/>
              </a:spcBef>
              <a:buClr>
                <a:srgbClr val="CE6B28"/>
              </a:buClr>
            </a:pPr>
            <a:r>
              <a:rPr lang="en-US" sz="20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Measuring farm-level outcomes…</a:t>
            </a: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08919667"/>
              </p:ext>
            </p:extLst>
          </p:nvPr>
        </p:nvGraphicFramePr>
        <p:xfrm>
          <a:off x="178338" y="385486"/>
          <a:ext cx="8783100" cy="621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51327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51"/>
  <p:tag name="NP_IDX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_V_0lHk.dXqHTukEBv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oiGovWUEmx3AFg0g3s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OciD5vUuKmefScV4E5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OQlmL9pUSskaJK3oASI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MWTs.tPUCIIUqWWKdX0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dhv0oxkyt31Zra0gV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3YVf6PHkmaS.TU3vH_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mDbNR7k.zwrkIAOcq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jXF946UeFWFeuVUdf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ie8oC_0aXKKNgWNxVr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WPxfFetU67GO2m21bl.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8PZu9PEKgTUM8xx58v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AkIypxEUCspBSYidTU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X5w7RP0GBoQzQnO4nR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s.rUhL00CrECK65EKUJ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m28KQEiayERAKHE90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EGO_is5UWUEZrjbHeIb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amPnU_EKQrNU0glFK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f8Q138vh0qqncmIblZM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02VB2mWk.N9zwv1v_a4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GH1s62kWqnuom1BRfI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bJX901x0yEARiYTMHQ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8f4OeKU0eDrCiSMJqko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Qbm57ZMEO69OUuMtYDg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oiGovWUEmx3AFg0g3s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OciD5vUuKmefScV4E5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MWTs.tPUCIIUqWWKdX0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dhv0oxkyt31Zra0gVd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mDbNR7k.zwrkIAOcq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jXF946UeFWFeuVUdfX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ie8oC_0aXKKNgWNxV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WPxfFetU67GO2m21bl.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8PZu9PEKgTUM8xx58v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AkIypxEUCspBSYidTUm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X5w7RP0GBoQzQnO4nR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s.rUhL00CrECK65EKUJ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m28KQEiayERAKHE9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EGO_is5UWUEZrjbHeIb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amPnU_EKQrNU0glFK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f8Q138vh0qqncmIblZME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02VB2mWk.N9zwv1v_a4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GH1s62kWqnuom1BRfI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bJX901x0yEARiYTMHQc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8f4OeKU0eDrCiSMJqk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Qbm57ZMEO69OUuMtYDg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oiGovWUEmx3AFg0g3sQ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OciD5vUuKmefScV4E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MWTs.tPUCIIUqWWKdX0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dhv0oxkyt31Zra0gVd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mDbNR7k.zwrkIAOcqY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jXF946UeFWFeuVUdf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ie8oC_0aXKKNgWNxVr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WPxfFetU67GO2m21bl.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8PZu9PEKgTUM8xx58v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AkIypxEUCspBSYidTU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X5w7RP0GBoQzQnO4nR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s.rUhL00CrECK65EKUJ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m28KQEiayERAKHE90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EGO_is5UWUEZrjbHeI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amPnU_EKQrNU0glFKr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f8Q138vh0qqncmIblZME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02VB2mWk.N9zwv1v_a4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GH1s62kWqnuom1BRfI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bJX901x0yEARiYTMHQc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8f4OeKU0eDrCiSMJqko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Qbm57ZMEO69OUuMtYDg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oiGovWUEmx3AFg0g3sQ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OciD5vUuKmefScV4E5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MWTs.tPUCIIUqWWKdX0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dhv0oxkyt31Zra0gVd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mDbNR7k.zwrkIAOcqY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jXF946UeFWFeuVUdfX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ie8oC_0aXKKNgWNxV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WPxfFetU67GO2m21bl.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HcstL6lEal4VEIixqJC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sLQ0_akKjYzhIsqmo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zZjwdu7kyplUzDOK8n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Ae.yta4kSATTeqt_m9W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RDOhFzAEGMmgDWW_2V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5URHJ8ifUW27pWk9bpk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HK.FHNTU.F4gdMS1WJ0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b_FqNEE0myFv1XL_TX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QEDBRAKU2G5lKEBfD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HcstL6lEal4VEIixqJ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8PZu9PEKgTUM8xx58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AkIypxEUCspBSYidTU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X5w7RP0GBoQzQnO4n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sGAqyIzUSi20UdhZqO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s.rUhL00CrECK65EKU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m28KQEiayERAKHE9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EGO_is5UWUEZrjbHeI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amPnU_EKQrNU0glFK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f8Q138vh0qqncmIblZM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02VB2mWk.N9zwv1v_a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GH1s62kWqnuom1BRf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bJX901x0yEARiYTMHQ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8f4OeKU0eDrCiSMJqk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kGUEGKekSiwzSRSY50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Qbm57ZMEO69OUuMtYDg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oiGovWUEmx3AFg0g3s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OciD5vUuKmefScV4E5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zIdb_vi0O95.w4F1DfD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MWTs.tPUCIIUqWWKdX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g99ckFN0.0FXB10Vi9_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4dhv0oxkyt31Zra0gV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rmDbNR7k.zwrkIAOcq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GjXF946UeFWFeuVUdf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ie8oC_0aXKKNgWNxVr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WPxfFetU67GO2m21bl.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x_W535K0CY_y_Beu8t.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8PZu9PEKgTUM8xx58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AkIypxEUCspBSYidTU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X5w7RP0GBoQzQnO4n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s.rUhL00CrECK65EKU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SsLQ0_akKjYzhIsqmo2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40J6QESkSU4EwWbvCa8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J_m28KQEiayERAKHE9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EGO_is5UWUEZrjbHeI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OamPnU_EKQrNU0glFKr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f8Q138vh0qqncmIblZM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02VB2mWk.N9zwv1v_a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VGH1s62kWqnuom1BRfI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bJX901x0yEARiYTMHQ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8f4OeKU0eDrCiSMJqk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Qbm57ZMEO69OUuMtYDgw"/>
</p:tagLst>
</file>

<file path=ppt/theme/theme1.xml><?xml version="1.0" encoding="utf-8"?>
<a:theme xmlns:a="http://schemas.openxmlformats.org/drawingml/2006/main" name="Bill &amp; Melinda Gates foundation_CF_ON0203">
  <a:themeElements>
    <a:clrScheme name="Bill &amp; Melinda Gates foundation_CF_ON0203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FFFFFF"/>
      </a:accent3>
      <a:accent4>
        <a:srgbClr val="4B3A22"/>
      </a:accent4>
      <a:accent5>
        <a:srgbClr val="C9BFAA"/>
      </a:accent5>
      <a:accent6>
        <a:srgbClr val="BA6024"/>
      </a:accent6>
      <a:hlink>
        <a:srgbClr val="8CB7C7"/>
      </a:hlink>
      <a:folHlink>
        <a:srgbClr val="9B242D"/>
      </a:folHlink>
    </a:clrScheme>
    <a:fontScheme name="Bill &amp; Melinda Gates foundation_CF_ON0203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ill &amp; Melinda Gates foundation_CF_ON0203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ECEDF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l &amp; Melinda Gates foundation_CF_ON0203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977C00"/>
        </a:accent1>
        <a:accent2>
          <a:srgbClr val="CE6B29"/>
        </a:accent2>
        <a:accent3>
          <a:srgbClr val="FFFFFF"/>
        </a:accent3>
        <a:accent4>
          <a:srgbClr val="4B3A22"/>
        </a:accent4>
        <a:accent5>
          <a:srgbClr val="C9BFAA"/>
        </a:accent5>
        <a:accent6>
          <a:srgbClr val="BA6024"/>
        </a:accent6>
        <a:hlink>
          <a:srgbClr val="8CB7C7"/>
        </a:hlink>
        <a:folHlink>
          <a:srgbClr val="9B24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_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ill&amp;Melinda_CF_GAE235">
  <a:themeElements>
    <a:clrScheme name="Bill&amp;Melinda_CF_GAE235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E2EDF1"/>
      </a:accent1>
      <a:accent2>
        <a:srgbClr val="96C3D4"/>
      </a:accent2>
      <a:accent3>
        <a:srgbClr val="FFFFFF"/>
      </a:accent3>
      <a:accent4>
        <a:srgbClr val="4B3A22"/>
      </a:accent4>
      <a:accent5>
        <a:srgbClr val="EEF4F7"/>
      </a:accent5>
      <a:accent6>
        <a:srgbClr val="87B0C0"/>
      </a:accent6>
      <a:hlink>
        <a:srgbClr val="4696B4"/>
      </a:hlink>
      <a:folHlink>
        <a:srgbClr val="59452A"/>
      </a:folHlink>
    </a:clrScheme>
    <a:fontScheme name="Bill&amp;Melinda_CF_GAE23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ill&amp;Melinda_CF_GAE235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1DAB5"/>
        </a:accent1>
        <a:accent2>
          <a:srgbClr val="B19253"/>
        </a:accent2>
        <a:accent3>
          <a:srgbClr val="FFFFFF"/>
        </a:accent3>
        <a:accent4>
          <a:srgbClr val="4B3A22"/>
        </a:accent4>
        <a:accent5>
          <a:srgbClr val="EEEAD7"/>
        </a:accent5>
        <a:accent6>
          <a:srgbClr val="A0844A"/>
        </a:accent6>
        <a:hlink>
          <a:srgbClr val="CE6B29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ill&amp;Melinda_CF_GAE235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2EDF1"/>
        </a:accent1>
        <a:accent2>
          <a:srgbClr val="96C3D4"/>
        </a:accent2>
        <a:accent3>
          <a:srgbClr val="FFFFFF"/>
        </a:accent3>
        <a:accent4>
          <a:srgbClr val="4B3A22"/>
        </a:accent4>
        <a:accent5>
          <a:srgbClr val="EEF4F7"/>
        </a:accent5>
        <a:accent6>
          <a:srgbClr val="87B0C0"/>
        </a:accent6>
        <a:hlink>
          <a:srgbClr val="4696B4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ill&amp;Melinda_CF_GAE235">
  <a:themeElements>
    <a:clrScheme name="1_Bill&amp;Melinda_CF_GAE235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E2EDF1"/>
      </a:accent1>
      <a:accent2>
        <a:srgbClr val="96C3D4"/>
      </a:accent2>
      <a:accent3>
        <a:srgbClr val="FFFFFF"/>
      </a:accent3>
      <a:accent4>
        <a:srgbClr val="4B3A22"/>
      </a:accent4>
      <a:accent5>
        <a:srgbClr val="EEF4F7"/>
      </a:accent5>
      <a:accent6>
        <a:srgbClr val="87B0C0"/>
      </a:accent6>
      <a:hlink>
        <a:srgbClr val="4696B4"/>
      </a:hlink>
      <a:folHlink>
        <a:srgbClr val="59452A"/>
      </a:folHlink>
    </a:clrScheme>
    <a:fontScheme name="1_Bill&amp;Melinda_CF_GAE23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ill&amp;Melinda_CF_GAE235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1DAB5"/>
        </a:accent1>
        <a:accent2>
          <a:srgbClr val="B19253"/>
        </a:accent2>
        <a:accent3>
          <a:srgbClr val="FFFFFF"/>
        </a:accent3>
        <a:accent4>
          <a:srgbClr val="4B3A22"/>
        </a:accent4>
        <a:accent5>
          <a:srgbClr val="EEEAD7"/>
        </a:accent5>
        <a:accent6>
          <a:srgbClr val="A0844A"/>
        </a:accent6>
        <a:hlink>
          <a:srgbClr val="CE6B29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ill&amp;Melinda_CF_GAE235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2EDF1"/>
        </a:accent1>
        <a:accent2>
          <a:srgbClr val="96C3D4"/>
        </a:accent2>
        <a:accent3>
          <a:srgbClr val="FFFFFF"/>
        </a:accent3>
        <a:accent4>
          <a:srgbClr val="4B3A22"/>
        </a:accent4>
        <a:accent5>
          <a:srgbClr val="EEF4F7"/>
        </a:accent5>
        <a:accent6>
          <a:srgbClr val="87B0C0"/>
        </a:accent6>
        <a:hlink>
          <a:srgbClr val="4696B4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Bill&amp;Melinda_CF_GAE235">
  <a:themeElements>
    <a:clrScheme name="2_Bill&amp;Melinda_CF_GAE235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E2EDF1"/>
      </a:accent1>
      <a:accent2>
        <a:srgbClr val="96C3D4"/>
      </a:accent2>
      <a:accent3>
        <a:srgbClr val="FFFFFF"/>
      </a:accent3>
      <a:accent4>
        <a:srgbClr val="4B3A22"/>
      </a:accent4>
      <a:accent5>
        <a:srgbClr val="EEF4F7"/>
      </a:accent5>
      <a:accent6>
        <a:srgbClr val="87B0C0"/>
      </a:accent6>
      <a:hlink>
        <a:srgbClr val="4696B4"/>
      </a:hlink>
      <a:folHlink>
        <a:srgbClr val="59452A"/>
      </a:folHlink>
    </a:clrScheme>
    <a:fontScheme name="2_Bill&amp;Melinda_CF_GAE23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Bill&amp;Melinda_CF_GAE235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1DAB5"/>
        </a:accent1>
        <a:accent2>
          <a:srgbClr val="B19253"/>
        </a:accent2>
        <a:accent3>
          <a:srgbClr val="FFFFFF"/>
        </a:accent3>
        <a:accent4>
          <a:srgbClr val="4B3A22"/>
        </a:accent4>
        <a:accent5>
          <a:srgbClr val="EEEAD7"/>
        </a:accent5>
        <a:accent6>
          <a:srgbClr val="A0844A"/>
        </a:accent6>
        <a:hlink>
          <a:srgbClr val="CE6B29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ill&amp;Melinda_CF_GAE235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2EDF1"/>
        </a:accent1>
        <a:accent2>
          <a:srgbClr val="96C3D4"/>
        </a:accent2>
        <a:accent3>
          <a:srgbClr val="FFFFFF"/>
        </a:accent3>
        <a:accent4>
          <a:srgbClr val="4B3A22"/>
        </a:accent4>
        <a:accent5>
          <a:srgbClr val="EEF4F7"/>
        </a:accent5>
        <a:accent6>
          <a:srgbClr val="87B0C0"/>
        </a:accent6>
        <a:hlink>
          <a:srgbClr val="4696B4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Bill&amp;Melinda_CF_GAE235">
  <a:themeElements>
    <a:clrScheme name="3_Bill&amp;Melinda_CF_GAE235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E2EDF1"/>
      </a:accent1>
      <a:accent2>
        <a:srgbClr val="96C3D4"/>
      </a:accent2>
      <a:accent3>
        <a:srgbClr val="FFFFFF"/>
      </a:accent3>
      <a:accent4>
        <a:srgbClr val="4B3A22"/>
      </a:accent4>
      <a:accent5>
        <a:srgbClr val="EEF4F7"/>
      </a:accent5>
      <a:accent6>
        <a:srgbClr val="87B0C0"/>
      </a:accent6>
      <a:hlink>
        <a:srgbClr val="4696B4"/>
      </a:hlink>
      <a:folHlink>
        <a:srgbClr val="59452A"/>
      </a:folHlink>
    </a:clrScheme>
    <a:fontScheme name="3_Bill&amp;Melinda_CF_GAE23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3_Bill&amp;Melinda_CF_GAE235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1DAB5"/>
        </a:accent1>
        <a:accent2>
          <a:srgbClr val="B19253"/>
        </a:accent2>
        <a:accent3>
          <a:srgbClr val="FFFFFF"/>
        </a:accent3>
        <a:accent4>
          <a:srgbClr val="4B3A22"/>
        </a:accent4>
        <a:accent5>
          <a:srgbClr val="EEEAD7"/>
        </a:accent5>
        <a:accent6>
          <a:srgbClr val="A0844A"/>
        </a:accent6>
        <a:hlink>
          <a:srgbClr val="CE6B29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ill&amp;Melinda_CF_GAE235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2EDF1"/>
        </a:accent1>
        <a:accent2>
          <a:srgbClr val="96C3D4"/>
        </a:accent2>
        <a:accent3>
          <a:srgbClr val="FFFFFF"/>
        </a:accent3>
        <a:accent4>
          <a:srgbClr val="4B3A22"/>
        </a:accent4>
        <a:accent5>
          <a:srgbClr val="EEF4F7"/>
        </a:accent5>
        <a:accent6>
          <a:srgbClr val="87B0C0"/>
        </a:accent6>
        <a:hlink>
          <a:srgbClr val="4696B4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Bill&amp;Melinda_CF_GAE235">
  <a:themeElements>
    <a:clrScheme name="4_Bill&amp;Melinda_CF_GAE235 2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E2EDF1"/>
      </a:accent1>
      <a:accent2>
        <a:srgbClr val="96C3D4"/>
      </a:accent2>
      <a:accent3>
        <a:srgbClr val="FFFFFF"/>
      </a:accent3>
      <a:accent4>
        <a:srgbClr val="4B3A22"/>
      </a:accent4>
      <a:accent5>
        <a:srgbClr val="EEF4F7"/>
      </a:accent5>
      <a:accent6>
        <a:srgbClr val="87B0C0"/>
      </a:accent6>
      <a:hlink>
        <a:srgbClr val="4696B4"/>
      </a:hlink>
      <a:folHlink>
        <a:srgbClr val="59452A"/>
      </a:folHlink>
    </a:clrScheme>
    <a:fontScheme name="4_Bill&amp;Melinda_CF_GAE235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334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8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4_Bill&amp;Melinda_CF_GAE235 1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1DAB5"/>
        </a:accent1>
        <a:accent2>
          <a:srgbClr val="B19253"/>
        </a:accent2>
        <a:accent3>
          <a:srgbClr val="FFFFFF"/>
        </a:accent3>
        <a:accent4>
          <a:srgbClr val="4B3A22"/>
        </a:accent4>
        <a:accent5>
          <a:srgbClr val="EEEAD7"/>
        </a:accent5>
        <a:accent6>
          <a:srgbClr val="A0844A"/>
        </a:accent6>
        <a:hlink>
          <a:srgbClr val="CE6B29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Bill&amp;Melinda_CF_GAE235 2">
        <a:dk1>
          <a:srgbClr val="59452A"/>
        </a:dk1>
        <a:lt1>
          <a:srgbClr val="FFFFFF"/>
        </a:lt1>
        <a:dk2>
          <a:srgbClr val="D5CB99"/>
        </a:dk2>
        <a:lt2>
          <a:srgbClr val="B6985E"/>
        </a:lt2>
        <a:accent1>
          <a:srgbClr val="E2EDF1"/>
        </a:accent1>
        <a:accent2>
          <a:srgbClr val="96C3D4"/>
        </a:accent2>
        <a:accent3>
          <a:srgbClr val="FFFFFF"/>
        </a:accent3>
        <a:accent4>
          <a:srgbClr val="4B3A22"/>
        </a:accent4>
        <a:accent5>
          <a:srgbClr val="EEF4F7"/>
        </a:accent5>
        <a:accent6>
          <a:srgbClr val="87B0C0"/>
        </a:accent6>
        <a:hlink>
          <a:srgbClr val="4696B4"/>
        </a:hlink>
        <a:folHlink>
          <a:srgbClr val="5945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defRPr sz="1600" dirty="0" smtClean="0">
            <a:solidFill>
              <a:schemeClr val="accent6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_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Foundation_PowerPoint_Template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defRPr sz="1600" dirty="0" smtClean="0">
            <a:solidFill>
              <a:schemeClr val="accent6"/>
            </a:solidFill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495</TotalTime>
  <Words>1359</Words>
  <Application>Microsoft Office PowerPoint</Application>
  <PresentationFormat>Custom</PresentationFormat>
  <Paragraphs>294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Segoe</vt:lpstr>
      <vt:lpstr>SimSun</vt:lpstr>
      <vt:lpstr>Bill &amp; Melinda Gates foundation_CF_ON0203</vt:lpstr>
      <vt:lpstr>Bill&amp;Melinda_CF_GAE235</vt:lpstr>
      <vt:lpstr>1_Bill&amp;Melinda_CF_GAE235</vt:lpstr>
      <vt:lpstr>2_Bill&amp;Melinda_CF_GAE235</vt:lpstr>
      <vt:lpstr>3_Bill&amp;Melinda_CF_GAE235</vt:lpstr>
      <vt:lpstr>4_Bill&amp;Melinda_CF_GAE235</vt:lpstr>
      <vt:lpstr>Foundation_PowerPoint_Template</vt:lpstr>
      <vt:lpstr>1_Foundation_PowerPoint_Template</vt:lpstr>
      <vt:lpstr>2_Foundation_PowerPoint_Template</vt:lpstr>
      <vt:lpstr>3_Foundation_PowerPoint_Template</vt:lpstr>
      <vt:lpstr>think-cell Slide</vt:lpstr>
      <vt:lpstr>New Horizons in Outcome Monitoring </vt:lpstr>
      <vt:lpstr>  Outcome Monitoring</vt:lpstr>
      <vt:lpstr>Objectives for Today</vt:lpstr>
      <vt:lpstr>  Bill and Melinda Gates Foundation</vt:lpstr>
      <vt:lpstr>PowerPoint Presentation</vt:lpstr>
      <vt:lpstr>PowerPoint Presentation</vt:lpstr>
      <vt:lpstr>GD Agriculture’s MLE Approach</vt:lpstr>
      <vt:lpstr>Features of our Outcome Monitoring Efforts</vt:lpstr>
      <vt:lpstr>PowerPoint Presentation</vt:lpstr>
      <vt:lpstr>PowerPoint Presentation</vt:lpstr>
      <vt:lpstr>STRASA</vt:lpstr>
      <vt:lpstr>PowerPoint Presentation</vt:lpstr>
      <vt:lpstr>Elements of STRASA Outcome Monitoring</vt:lpstr>
      <vt:lpstr>Early Results</vt:lpstr>
      <vt:lpstr>LQAS Study</vt:lpstr>
      <vt:lpstr>Challenges to Using Outcome Monitoring</vt:lpstr>
      <vt:lpstr>Discussion Questions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storyline for change memo and ppt</dc:title>
  <dc:creator>Michelle Rosenthal</dc:creator>
  <cp:lastModifiedBy>richardc</cp:lastModifiedBy>
  <cp:revision>467</cp:revision>
  <cp:lastPrinted>2012-05-18T13:20:55Z</cp:lastPrinted>
  <dcterms:created xsi:type="dcterms:W3CDTF">2012-04-04T17:08:10Z</dcterms:created>
  <dcterms:modified xsi:type="dcterms:W3CDTF">2012-06-12T14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Draft storyline for change memo and ppt  </vt:lpwstr>
  </property>
  <property fmtid="{D5CDD505-2E9C-101B-9397-08002B2CF9AE}" pid="7" name="Event">
    <vt:lpwstr/>
  </property>
  <property fmtid="{D5CDD505-2E9C-101B-9397-08002B2CF9AE}" pid="8" name="Delivery Date">
    <vt:lpwstr>April 26, 2012 </vt:lpwstr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1</vt:i4>
  </property>
  <property fmtid="{D5CDD505-2E9C-101B-9397-08002B2CF9AE}" pid="13" name="Office2003EditCount">
    <vt:lpwstr>1</vt:lpwstr>
  </property>
  <property fmtid="{D5CDD505-2E9C-101B-9397-08002B2CF9AE}" pid="14" name="Office2010EditCount">
    <vt:lpwstr>0</vt:lpwstr>
  </property>
  <property fmtid="{D5CDD505-2E9C-101B-9397-08002B2CF9AE}" pid="15" name="LastEditedOfficeVersion">
    <vt:lpwstr>Office2003</vt:lpwstr>
  </property>
  <property fmtid="{D5CDD505-2E9C-101B-9397-08002B2CF9AE}" pid="16" name="Office2003WasSaved">
    <vt:lpwstr>1</vt:lpwstr>
  </property>
</Properties>
</file>